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5.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9.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7.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21.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tags/tag6.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25.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notesSlides/notesSlide28.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7.xml" ContentType="application/vnd.openxmlformats-officedocument.presentationml.tags+xml"/>
  <Override PartName="/ppt/notesSlides/notesSlide3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59"/>
  </p:notesMasterIdLst>
  <p:sldIdLst>
    <p:sldId id="2147470553" r:id="rId5"/>
    <p:sldId id="2147470557" r:id="rId6"/>
    <p:sldId id="2147470558" r:id="rId7"/>
    <p:sldId id="2147470559" r:id="rId8"/>
    <p:sldId id="2147470565" r:id="rId9"/>
    <p:sldId id="2147470564" r:id="rId10"/>
    <p:sldId id="2147470593" r:id="rId11"/>
    <p:sldId id="2147470573" r:id="rId12"/>
    <p:sldId id="2147470584" r:id="rId13"/>
    <p:sldId id="2147470585" r:id="rId14"/>
    <p:sldId id="2147470586" r:id="rId15"/>
    <p:sldId id="2147470587" r:id="rId16"/>
    <p:sldId id="2147470589" r:id="rId17"/>
    <p:sldId id="2147470588" r:id="rId18"/>
    <p:sldId id="2147470590" r:id="rId19"/>
    <p:sldId id="2147470592" r:id="rId20"/>
    <p:sldId id="2147470574" r:id="rId21"/>
    <p:sldId id="2147470591" r:id="rId22"/>
    <p:sldId id="2147470575" r:id="rId23"/>
    <p:sldId id="2147470594" r:id="rId24"/>
    <p:sldId id="2147470596" r:id="rId25"/>
    <p:sldId id="2147470597" r:id="rId26"/>
    <p:sldId id="2147470598" r:id="rId27"/>
    <p:sldId id="2147470626" r:id="rId28"/>
    <p:sldId id="2147470595" r:id="rId29"/>
    <p:sldId id="2147470600" r:id="rId30"/>
    <p:sldId id="2147470599" r:id="rId31"/>
    <p:sldId id="2147470601" r:id="rId32"/>
    <p:sldId id="2147470576" r:id="rId33"/>
    <p:sldId id="2147470627" r:id="rId34"/>
    <p:sldId id="2147470628" r:id="rId35"/>
    <p:sldId id="2147470629" r:id="rId36"/>
    <p:sldId id="2147470602" r:id="rId37"/>
    <p:sldId id="2147470579" r:id="rId38"/>
    <p:sldId id="2147470580" r:id="rId39"/>
    <p:sldId id="2147470577" r:id="rId40"/>
    <p:sldId id="2147470560" r:id="rId41"/>
    <p:sldId id="2147470603" r:id="rId42"/>
    <p:sldId id="2147470571" r:id="rId43"/>
    <p:sldId id="2147470604" r:id="rId44"/>
    <p:sldId id="2147470607" r:id="rId45"/>
    <p:sldId id="2147470608" r:id="rId46"/>
    <p:sldId id="2147470609" r:id="rId47"/>
    <p:sldId id="2147470613" r:id="rId48"/>
    <p:sldId id="2147470614" r:id="rId49"/>
    <p:sldId id="2147470611" r:id="rId50"/>
    <p:sldId id="2147470619" r:id="rId51"/>
    <p:sldId id="2147470620" r:id="rId52"/>
    <p:sldId id="2147470610" r:id="rId53"/>
    <p:sldId id="2147470621" r:id="rId54"/>
    <p:sldId id="2147470622" r:id="rId55"/>
    <p:sldId id="2147470623" r:id="rId56"/>
    <p:sldId id="2147470624" r:id="rId57"/>
    <p:sldId id="2147470625" r:id="rId5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4F84794-9EA4-434B-B44E-34CC5A595DFB}" v="148" dt="2023-11-14T16:24:01.57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4" d="100"/>
          <a:sy n="74" d="100"/>
        </p:scale>
        <p:origin x="54" y="6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5" Type="http://schemas.openxmlformats.org/officeDocument/2006/relationships/slide" Target="slides/slide1.xml"/><Relationship Id="rId61" Type="http://schemas.openxmlformats.org/officeDocument/2006/relationships/viewProps" Target="viewProps.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microsoft.com/office/2016/11/relationships/changesInfo" Target="changesInfos/changesInfo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notesMaster" Target="notesMasters/notesMaster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presProps" Target="presProps.xml"/><Relationship Id="rId65"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wayne Natwick" userId="d11f0013982d5c78" providerId="Windows Live" clId="Web-{B6FDFF27-C467-4918-AC10-A036B07F40B2}"/>
    <pc:docChg chg="addSld modSld">
      <pc:chgData name="Dwayne Natwick" userId="d11f0013982d5c78" providerId="Windows Live" clId="Web-{B6FDFF27-C467-4918-AC10-A036B07F40B2}" dt="2023-09-11T17:59:58.248" v="945" actId="20577"/>
      <pc:docMkLst>
        <pc:docMk/>
      </pc:docMkLst>
      <pc:sldChg chg="modSp">
        <pc:chgData name="Dwayne Natwick" userId="d11f0013982d5c78" providerId="Windows Live" clId="Web-{B6FDFF27-C467-4918-AC10-A036B07F40B2}" dt="2023-09-11T17:30:44.090" v="244" actId="20577"/>
        <pc:sldMkLst>
          <pc:docMk/>
          <pc:sldMk cId="948136224" sldId="2147470573"/>
        </pc:sldMkLst>
        <pc:spChg chg="mod">
          <ac:chgData name="Dwayne Natwick" userId="d11f0013982d5c78" providerId="Windows Live" clId="Web-{B6FDFF27-C467-4918-AC10-A036B07F40B2}" dt="2023-09-11T17:30:44.090" v="244" actId="20577"/>
          <ac:spMkLst>
            <pc:docMk/>
            <pc:sldMk cId="948136224" sldId="2147470573"/>
            <ac:spMk id="3" creationId="{8810F879-0D52-6206-A283-CE7E0B7E3C5D}"/>
          </ac:spMkLst>
        </pc:spChg>
      </pc:sldChg>
      <pc:sldChg chg="modSp">
        <pc:chgData name="Dwayne Natwick" userId="d11f0013982d5c78" providerId="Windows Live" clId="Web-{B6FDFF27-C467-4918-AC10-A036B07F40B2}" dt="2023-09-11T17:55:12.490" v="867" actId="20577"/>
        <pc:sldMkLst>
          <pc:docMk/>
          <pc:sldMk cId="2030514790" sldId="2147470574"/>
        </pc:sldMkLst>
        <pc:spChg chg="mod">
          <ac:chgData name="Dwayne Natwick" userId="d11f0013982d5c78" providerId="Windows Live" clId="Web-{B6FDFF27-C467-4918-AC10-A036B07F40B2}" dt="2023-09-11T17:55:12.490" v="867" actId="20577"/>
          <ac:spMkLst>
            <pc:docMk/>
            <pc:sldMk cId="2030514790" sldId="2147470574"/>
            <ac:spMk id="3" creationId="{8810F879-0D52-6206-A283-CE7E0B7E3C5D}"/>
          </ac:spMkLst>
        </pc:spChg>
      </pc:sldChg>
      <pc:sldChg chg="modSp add replId">
        <pc:chgData name="Dwayne Natwick" userId="d11f0013982d5c78" providerId="Windows Live" clId="Web-{B6FDFF27-C467-4918-AC10-A036B07F40B2}" dt="2023-09-11T17:34:17.127" v="387" actId="20577"/>
        <pc:sldMkLst>
          <pc:docMk/>
          <pc:sldMk cId="3386646133" sldId="2147470584"/>
        </pc:sldMkLst>
        <pc:spChg chg="mod">
          <ac:chgData name="Dwayne Natwick" userId="d11f0013982d5c78" providerId="Windows Live" clId="Web-{B6FDFF27-C467-4918-AC10-A036B07F40B2}" dt="2023-09-11T17:26:42.255" v="55" actId="20577"/>
          <ac:spMkLst>
            <pc:docMk/>
            <pc:sldMk cId="3386646133" sldId="2147470584"/>
            <ac:spMk id="2" creationId="{9818A146-7202-24EA-7B4D-99C422D5DB3F}"/>
          </ac:spMkLst>
        </pc:spChg>
        <pc:spChg chg="mod">
          <ac:chgData name="Dwayne Natwick" userId="d11f0013982d5c78" providerId="Windows Live" clId="Web-{B6FDFF27-C467-4918-AC10-A036B07F40B2}" dt="2023-09-11T17:34:17.127" v="387" actId="20577"/>
          <ac:spMkLst>
            <pc:docMk/>
            <pc:sldMk cId="3386646133" sldId="2147470584"/>
            <ac:spMk id="3" creationId="{8810F879-0D52-6206-A283-CE7E0B7E3C5D}"/>
          </ac:spMkLst>
        </pc:spChg>
      </pc:sldChg>
      <pc:sldChg chg="addSp modSp add mod replId modClrScheme chgLayout">
        <pc:chgData name="Dwayne Natwick" userId="d11f0013982d5c78" providerId="Windows Live" clId="Web-{B6FDFF27-C467-4918-AC10-A036B07F40B2}" dt="2023-09-11T17:34:36.471" v="389"/>
        <pc:sldMkLst>
          <pc:docMk/>
          <pc:sldMk cId="3650723693" sldId="2147470585"/>
        </pc:sldMkLst>
        <pc:spChg chg="mod">
          <ac:chgData name="Dwayne Natwick" userId="d11f0013982d5c78" providerId="Windows Live" clId="Web-{B6FDFF27-C467-4918-AC10-A036B07F40B2}" dt="2023-09-11T17:34:36.471" v="389"/>
          <ac:spMkLst>
            <pc:docMk/>
            <pc:sldMk cId="3650723693" sldId="2147470585"/>
            <ac:spMk id="2" creationId="{9818A146-7202-24EA-7B4D-99C422D5DB3F}"/>
          </ac:spMkLst>
        </pc:spChg>
        <pc:spChg chg="mod">
          <ac:chgData name="Dwayne Natwick" userId="d11f0013982d5c78" providerId="Windows Live" clId="Web-{B6FDFF27-C467-4918-AC10-A036B07F40B2}" dt="2023-09-11T17:34:36.471" v="389"/>
          <ac:spMkLst>
            <pc:docMk/>
            <pc:sldMk cId="3650723693" sldId="2147470585"/>
            <ac:spMk id="3" creationId="{8810F879-0D52-6206-A283-CE7E0B7E3C5D}"/>
          </ac:spMkLst>
        </pc:spChg>
        <pc:picChg chg="add mod">
          <ac:chgData name="Dwayne Natwick" userId="d11f0013982d5c78" providerId="Windows Live" clId="Web-{B6FDFF27-C467-4918-AC10-A036B07F40B2}" dt="2023-09-11T17:34:36.471" v="389"/>
          <ac:picMkLst>
            <pc:docMk/>
            <pc:sldMk cId="3650723693" sldId="2147470585"/>
            <ac:picMk id="4" creationId="{D255A024-B4AB-FD84-D159-4DDF08A8F07D}"/>
          </ac:picMkLst>
        </pc:picChg>
      </pc:sldChg>
      <pc:sldChg chg="delSp modSp new mod modClrScheme chgLayout">
        <pc:chgData name="Dwayne Natwick" userId="d11f0013982d5c78" providerId="Windows Live" clId="Web-{B6FDFF27-C467-4918-AC10-A036B07F40B2}" dt="2023-09-11T17:40:10.605" v="539" actId="20577"/>
        <pc:sldMkLst>
          <pc:docMk/>
          <pc:sldMk cId="694622249" sldId="2147470586"/>
        </pc:sldMkLst>
        <pc:spChg chg="mod ord">
          <ac:chgData name="Dwayne Natwick" userId="d11f0013982d5c78" providerId="Windows Live" clId="Web-{B6FDFF27-C467-4918-AC10-A036B07F40B2}" dt="2023-09-11T17:36:08.380" v="395" actId="20577"/>
          <ac:spMkLst>
            <pc:docMk/>
            <pc:sldMk cId="694622249" sldId="2147470586"/>
            <ac:spMk id="2" creationId="{4F03887C-60C2-A9BC-7D57-446E94505E95}"/>
          </ac:spMkLst>
        </pc:spChg>
        <pc:spChg chg="mod ord">
          <ac:chgData name="Dwayne Natwick" userId="d11f0013982d5c78" providerId="Windows Live" clId="Web-{B6FDFF27-C467-4918-AC10-A036B07F40B2}" dt="2023-09-11T17:40:10.605" v="539" actId="20577"/>
          <ac:spMkLst>
            <pc:docMk/>
            <pc:sldMk cId="694622249" sldId="2147470586"/>
            <ac:spMk id="3" creationId="{24D5E07E-8C99-3236-E329-322D38F9456F}"/>
          </ac:spMkLst>
        </pc:spChg>
        <pc:spChg chg="del">
          <ac:chgData name="Dwayne Natwick" userId="d11f0013982d5c78" providerId="Windows Live" clId="Web-{B6FDFF27-C467-4918-AC10-A036B07F40B2}" dt="2023-09-11T17:35:33.160" v="391"/>
          <ac:spMkLst>
            <pc:docMk/>
            <pc:sldMk cId="694622249" sldId="2147470586"/>
            <ac:spMk id="4" creationId="{F09E225B-934B-E629-4DAD-867FC73F5DA6}"/>
          </ac:spMkLst>
        </pc:spChg>
      </pc:sldChg>
      <pc:sldChg chg="modSp new">
        <pc:chgData name="Dwayne Natwick" userId="d11f0013982d5c78" providerId="Windows Live" clId="Web-{B6FDFF27-C467-4918-AC10-A036B07F40B2}" dt="2023-09-11T17:48:20.838" v="736" actId="20577"/>
        <pc:sldMkLst>
          <pc:docMk/>
          <pc:sldMk cId="347590927" sldId="2147470587"/>
        </pc:sldMkLst>
        <pc:spChg chg="mod">
          <ac:chgData name="Dwayne Natwick" userId="d11f0013982d5c78" providerId="Windows Live" clId="Web-{B6FDFF27-C467-4918-AC10-A036B07F40B2}" dt="2023-09-11T17:48:17.041" v="734" actId="20577"/>
          <ac:spMkLst>
            <pc:docMk/>
            <pc:sldMk cId="347590927" sldId="2147470587"/>
            <ac:spMk id="2" creationId="{49ED4149-7D80-DC24-D85C-E8F8E2138C6D}"/>
          </ac:spMkLst>
        </pc:spChg>
        <pc:spChg chg="mod">
          <ac:chgData name="Dwayne Natwick" userId="d11f0013982d5c78" providerId="Windows Live" clId="Web-{B6FDFF27-C467-4918-AC10-A036B07F40B2}" dt="2023-09-11T17:48:20.838" v="736" actId="20577"/>
          <ac:spMkLst>
            <pc:docMk/>
            <pc:sldMk cId="347590927" sldId="2147470587"/>
            <ac:spMk id="3" creationId="{9262B5ED-8454-F1E3-0143-C89092EF7A91}"/>
          </ac:spMkLst>
        </pc:spChg>
      </pc:sldChg>
      <pc:sldChg chg="modSp add replId">
        <pc:chgData name="Dwayne Natwick" userId="d11f0013982d5c78" providerId="Windows Live" clId="Web-{B6FDFF27-C467-4918-AC10-A036B07F40B2}" dt="2023-09-11T17:48:01.400" v="722" actId="20577"/>
        <pc:sldMkLst>
          <pc:docMk/>
          <pc:sldMk cId="2214484181" sldId="2147470588"/>
        </pc:sldMkLst>
        <pc:spChg chg="mod">
          <ac:chgData name="Dwayne Natwick" userId="d11f0013982d5c78" providerId="Windows Live" clId="Web-{B6FDFF27-C467-4918-AC10-A036B07F40B2}" dt="2023-09-11T17:48:01.400" v="722" actId="20577"/>
          <ac:spMkLst>
            <pc:docMk/>
            <pc:sldMk cId="2214484181" sldId="2147470588"/>
            <ac:spMk id="2" creationId="{49ED4149-7D80-DC24-D85C-E8F8E2138C6D}"/>
          </ac:spMkLst>
        </pc:spChg>
        <pc:spChg chg="mod">
          <ac:chgData name="Dwayne Natwick" userId="d11f0013982d5c78" providerId="Windows Live" clId="Web-{B6FDFF27-C467-4918-AC10-A036B07F40B2}" dt="2023-09-11T17:47:57.056" v="720" actId="20577"/>
          <ac:spMkLst>
            <pc:docMk/>
            <pc:sldMk cId="2214484181" sldId="2147470588"/>
            <ac:spMk id="3" creationId="{9262B5ED-8454-F1E3-0143-C89092EF7A91}"/>
          </ac:spMkLst>
        </pc:spChg>
      </pc:sldChg>
      <pc:sldChg chg="modSp add replId">
        <pc:chgData name="Dwayne Natwick" userId="d11f0013982d5c78" providerId="Windows Live" clId="Web-{B6FDFF27-C467-4918-AC10-A036B07F40B2}" dt="2023-09-11T17:50:08.013" v="754" actId="20577"/>
        <pc:sldMkLst>
          <pc:docMk/>
          <pc:sldMk cId="3716502182" sldId="2147470589"/>
        </pc:sldMkLst>
        <pc:spChg chg="mod">
          <ac:chgData name="Dwayne Natwick" userId="d11f0013982d5c78" providerId="Windows Live" clId="Web-{B6FDFF27-C467-4918-AC10-A036B07F40B2}" dt="2023-09-11T17:49:11.823" v="740" actId="20577"/>
          <ac:spMkLst>
            <pc:docMk/>
            <pc:sldMk cId="3716502182" sldId="2147470589"/>
            <ac:spMk id="2" creationId="{49ED4149-7D80-DC24-D85C-E8F8E2138C6D}"/>
          </ac:spMkLst>
        </pc:spChg>
        <pc:spChg chg="mod">
          <ac:chgData name="Dwayne Natwick" userId="d11f0013982d5c78" providerId="Windows Live" clId="Web-{B6FDFF27-C467-4918-AC10-A036B07F40B2}" dt="2023-09-11T17:50:08.013" v="754" actId="20577"/>
          <ac:spMkLst>
            <pc:docMk/>
            <pc:sldMk cId="3716502182" sldId="2147470589"/>
            <ac:spMk id="3" creationId="{9262B5ED-8454-F1E3-0143-C89092EF7A91}"/>
          </ac:spMkLst>
        </pc:spChg>
      </pc:sldChg>
      <pc:sldChg chg="modSp add replId">
        <pc:chgData name="Dwayne Natwick" userId="d11f0013982d5c78" providerId="Windows Live" clId="Web-{B6FDFF27-C467-4918-AC10-A036B07F40B2}" dt="2023-09-11T17:52:18.797" v="766" actId="20577"/>
        <pc:sldMkLst>
          <pc:docMk/>
          <pc:sldMk cId="836223342" sldId="2147470590"/>
        </pc:sldMkLst>
        <pc:spChg chg="mod">
          <ac:chgData name="Dwayne Natwick" userId="d11f0013982d5c78" providerId="Windows Live" clId="Web-{B6FDFF27-C467-4918-AC10-A036B07F40B2}" dt="2023-09-11T17:50:56.717" v="760" actId="20577"/>
          <ac:spMkLst>
            <pc:docMk/>
            <pc:sldMk cId="836223342" sldId="2147470590"/>
            <ac:spMk id="2" creationId="{49ED4149-7D80-DC24-D85C-E8F8E2138C6D}"/>
          </ac:spMkLst>
        </pc:spChg>
        <pc:spChg chg="mod">
          <ac:chgData name="Dwayne Natwick" userId="d11f0013982d5c78" providerId="Windows Live" clId="Web-{B6FDFF27-C467-4918-AC10-A036B07F40B2}" dt="2023-09-11T17:52:18.797" v="766" actId="20577"/>
          <ac:spMkLst>
            <pc:docMk/>
            <pc:sldMk cId="836223342" sldId="2147470590"/>
            <ac:spMk id="3" creationId="{9262B5ED-8454-F1E3-0143-C89092EF7A91}"/>
          </ac:spMkLst>
        </pc:spChg>
      </pc:sldChg>
      <pc:sldChg chg="addSp delSp modSp new mod modClrScheme chgLayout">
        <pc:chgData name="Dwayne Natwick" userId="d11f0013982d5c78" providerId="Windows Live" clId="Web-{B6FDFF27-C467-4918-AC10-A036B07F40B2}" dt="2023-09-11T17:59:58.248" v="945" actId="20577"/>
        <pc:sldMkLst>
          <pc:docMk/>
          <pc:sldMk cId="1568180102" sldId="2147470591"/>
        </pc:sldMkLst>
        <pc:spChg chg="del">
          <ac:chgData name="Dwayne Natwick" userId="d11f0013982d5c78" providerId="Windows Live" clId="Web-{B6FDFF27-C467-4918-AC10-A036B07F40B2}" dt="2023-09-11T17:56:04.444" v="870"/>
          <ac:spMkLst>
            <pc:docMk/>
            <pc:sldMk cId="1568180102" sldId="2147470591"/>
            <ac:spMk id="2" creationId="{0F18224B-46B5-B3C9-65BF-BEAA41FC24D6}"/>
          </ac:spMkLst>
        </pc:spChg>
        <pc:spChg chg="del">
          <ac:chgData name="Dwayne Natwick" userId="d11f0013982d5c78" providerId="Windows Live" clId="Web-{B6FDFF27-C467-4918-AC10-A036B07F40B2}" dt="2023-09-11T17:55:59.663" v="869"/>
          <ac:spMkLst>
            <pc:docMk/>
            <pc:sldMk cId="1568180102" sldId="2147470591"/>
            <ac:spMk id="3" creationId="{850D36D1-8A75-00EE-6EC9-AAD857FB6385}"/>
          </ac:spMkLst>
        </pc:spChg>
        <pc:spChg chg="add mod">
          <ac:chgData name="Dwayne Natwick" userId="d11f0013982d5c78" providerId="Windows Live" clId="Web-{B6FDFF27-C467-4918-AC10-A036B07F40B2}" dt="2023-09-11T17:56:27.039" v="878" actId="20577"/>
          <ac:spMkLst>
            <pc:docMk/>
            <pc:sldMk cId="1568180102" sldId="2147470591"/>
            <ac:spMk id="9" creationId="{5BF3AE4B-3EA7-75FF-18D7-548B95D8E1BA}"/>
          </ac:spMkLst>
        </pc:spChg>
        <pc:spChg chg="add mod">
          <ac:chgData name="Dwayne Natwick" userId="d11f0013982d5c78" providerId="Windows Live" clId="Web-{B6FDFF27-C467-4918-AC10-A036B07F40B2}" dt="2023-09-11T17:59:58.248" v="945" actId="20577"/>
          <ac:spMkLst>
            <pc:docMk/>
            <pc:sldMk cId="1568180102" sldId="2147470591"/>
            <ac:spMk id="11" creationId="{3B24F147-897F-D0FA-7F06-E54B8BFE774E}"/>
          </ac:spMkLst>
        </pc:spChg>
        <pc:picChg chg="add mod ord">
          <ac:chgData name="Dwayne Natwick" userId="d11f0013982d5c78" providerId="Windows Live" clId="Web-{B6FDFF27-C467-4918-AC10-A036B07F40B2}" dt="2023-09-11T17:56:13.429" v="872" actId="1076"/>
          <ac:picMkLst>
            <pc:docMk/>
            <pc:sldMk cId="1568180102" sldId="2147470591"/>
            <ac:picMk id="4" creationId="{DCF172A3-9D30-C3A8-50DE-0495D0872A8B}"/>
          </ac:picMkLst>
        </pc:picChg>
      </pc:sldChg>
    </pc:docChg>
  </pc:docChgLst>
  <pc:docChgLst>
    <pc:chgData name="Dwayne Natwick" userId="3561b13b-c7da-4a5b-9614-8a4db83ccfee" providerId="ADAL" clId="{F86C50F5-7C37-4B87-81B9-B2F74CBC3A4C}"/>
    <pc:docChg chg="delSld modSld sldOrd">
      <pc:chgData name="Dwayne Natwick" userId="3561b13b-c7da-4a5b-9614-8a4db83ccfee" providerId="ADAL" clId="{F86C50F5-7C37-4B87-81B9-B2F74CBC3A4C}" dt="2023-09-18T16:17:58.207" v="48" actId="47"/>
      <pc:docMkLst>
        <pc:docMk/>
      </pc:docMkLst>
      <pc:sldChg chg="del">
        <pc:chgData name="Dwayne Natwick" userId="3561b13b-c7da-4a5b-9614-8a4db83ccfee" providerId="ADAL" clId="{F86C50F5-7C37-4B87-81B9-B2F74CBC3A4C}" dt="2023-09-18T16:17:47.424" v="45" actId="47"/>
        <pc:sldMkLst>
          <pc:docMk/>
          <pc:sldMk cId="1307574574" sldId="2147470566"/>
        </pc:sldMkLst>
      </pc:sldChg>
      <pc:sldChg chg="del">
        <pc:chgData name="Dwayne Natwick" userId="3561b13b-c7da-4a5b-9614-8a4db83ccfee" providerId="ADAL" clId="{F86C50F5-7C37-4B87-81B9-B2F74CBC3A4C}" dt="2023-09-18T16:17:38.531" v="44" actId="47"/>
        <pc:sldMkLst>
          <pc:docMk/>
          <pc:sldMk cId="1259147145" sldId="2147470572"/>
        </pc:sldMkLst>
      </pc:sldChg>
      <pc:sldChg chg="del ord">
        <pc:chgData name="Dwayne Natwick" userId="3561b13b-c7da-4a5b-9614-8a4db83ccfee" providerId="ADAL" clId="{F86C50F5-7C37-4B87-81B9-B2F74CBC3A4C}" dt="2023-09-18T16:17:58.207" v="48" actId="47"/>
        <pc:sldMkLst>
          <pc:docMk/>
          <pc:sldMk cId="3861986293" sldId="2147470583"/>
        </pc:sldMkLst>
      </pc:sldChg>
      <pc:sldChg chg="modSp mod">
        <pc:chgData name="Dwayne Natwick" userId="3561b13b-c7da-4a5b-9614-8a4db83ccfee" providerId="ADAL" clId="{F86C50F5-7C37-4B87-81B9-B2F74CBC3A4C}" dt="2023-09-18T16:15:24.377" v="0" actId="6549"/>
        <pc:sldMkLst>
          <pc:docMk/>
          <pc:sldMk cId="917890403" sldId="2147470600"/>
        </pc:sldMkLst>
        <pc:spChg chg="mod">
          <ac:chgData name="Dwayne Natwick" userId="3561b13b-c7da-4a5b-9614-8a4db83ccfee" providerId="ADAL" clId="{F86C50F5-7C37-4B87-81B9-B2F74CBC3A4C}" dt="2023-09-18T16:15:24.377" v="0" actId="6549"/>
          <ac:spMkLst>
            <pc:docMk/>
            <pc:sldMk cId="917890403" sldId="2147470600"/>
            <ac:spMk id="3" creationId="{DDB7FF23-C1F3-ECC1-8CF4-0F54F4733DD3}"/>
          </ac:spMkLst>
        </pc:spChg>
      </pc:sldChg>
      <pc:sldChg chg="modSp mod">
        <pc:chgData name="Dwayne Natwick" userId="3561b13b-c7da-4a5b-9614-8a4db83ccfee" providerId="ADAL" clId="{F86C50F5-7C37-4B87-81B9-B2F74CBC3A4C}" dt="2023-09-18T16:15:31.926" v="1" actId="6549"/>
        <pc:sldMkLst>
          <pc:docMk/>
          <pc:sldMk cId="2983617397" sldId="2147470601"/>
        </pc:sldMkLst>
        <pc:spChg chg="mod">
          <ac:chgData name="Dwayne Natwick" userId="3561b13b-c7da-4a5b-9614-8a4db83ccfee" providerId="ADAL" clId="{F86C50F5-7C37-4B87-81B9-B2F74CBC3A4C}" dt="2023-09-18T16:15:31.926" v="1" actId="6549"/>
          <ac:spMkLst>
            <pc:docMk/>
            <pc:sldMk cId="2983617397" sldId="2147470601"/>
            <ac:spMk id="3" creationId="{DDB7FF23-C1F3-ECC1-8CF4-0F54F4733DD3}"/>
          </ac:spMkLst>
        </pc:spChg>
      </pc:sldChg>
      <pc:sldChg chg="modSp mod">
        <pc:chgData name="Dwayne Natwick" userId="3561b13b-c7da-4a5b-9614-8a4db83ccfee" providerId="ADAL" clId="{F86C50F5-7C37-4B87-81B9-B2F74CBC3A4C}" dt="2023-09-18T16:15:39.680" v="2" actId="6549"/>
        <pc:sldMkLst>
          <pc:docMk/>
          <pc:sldMk cId="1171446039" sldId="2147470602"/>
        </pc:sldMkLst>
        <pc:spChg chg="mod">
          <ac:chgData name="Dwayne Natwick" userId="3561b13b-c7da-4a5b-9614-8a4db83ccfee" providerId="ADAL" clId="{F86C50F5-7C37-4B87-81B9-B2F74CBC3A4C}" dt="2023-09-18T16:15:39.680" v="2" actId="6549"/>
          <ac:spMkLst>
            <pc:docMk/>
            <pc:sldMk cId="1171446039" sldId="2147470602"/>
            <ac:spMk id="3" creationId="{85C97FA8-BE0A-E10E-33B0-9E19F185EBA4}"/>
          </ac:spMkLst>
        </pc:spChg>
      </pc:sldChg>
      <pc:sldChg chg="modSp mod ord">
        <pc:chgData name="Dwayne Natwick" userId="3561b13b-c7da-4a5b-9614-8a4db83ccfee" providerId="ADAL" clId="{F86C50F5-7C37-4B87-81B9-B2F74CBC3A4C}" dt="2023-09-18T16:16:03.704" v="6"/>
        <pc:sldMkLst>
          <pc:docMk/>
          <pc:sldMk cId="702810448" sldId="2147470603"/>
        </pc:sldMkLst>
        <pc:spChg chg="mod">
          <ac:chgData name="Dwayne Natwick" userId="3561b13b-c7da-4a5b-9614-8a4db83ccfee" providerId="ADAL" clId="{F86C50F5-7C37-4B87-81B9-B2F74CBC3A4C}" dt="2023-09-18T16:15:55.564" v="4" actId="20577"/>
          <ac:spMkLst>
            <pc:docMk/>
            <pc:sldMk cId="702810448" sldId="2147470603"/>
            <ac:spMk id="3" creationId="{6B58DB51-7D0F-F03B-7A4F-5721D8CDBA64}"/>
          </ac:spMkLst>
        </pc:spChg>
      </pc:sldChg>
      <pc:sldChg chg="del mod modShow">
        <pc:chgData name="Dwayne Natwick" userId="3561b13b-c7da-4a5b-9614-8a4db83ccfee" providerId="ADAL" clId="{F86C50F5-7C37-4B87-81B9-B2F74CBC3A4C}" dt="2023-09-18T16:16:44.171" v="9" actId="2696"/>
        <pc:sldMkLst>
          <pc:docMk/>
          <pc:sldMk cId="2524577050" sldId="2147470612"/>
        </pc:sldMkLst>
      </pc:sldChg>
      <pc:sldChg chg="del">
        <pc:chgData name="Dwayne Natwick" userId="3561b13b-c7da-4a5b-9614-8a4db83ccfee" providerId="ADAL" clId="{F86C50F5-7C37-4B87-81B9-B2F74CBC3A4C}" dt="2023-09-18T16:16:48.060" v="10" actId="47"/>
        <pc:sldMkLst>
          <pc:docMk/>
          <pc:sldMk cId="3933044535" sldId="2147470615"/>
        </pc:sldMkLst>
      </pc:sldChg>
      <pc:sldChg chg="del">
        <pc:chgData name="Dwayne Natwick" userId="3561b13b-c7da-4a5b-9614-8a4db83ccfee" providerId="ADAL" clId="{F86C50F5-7C37-4B87-81B9-B2F74CBC3A4C}" dt="2023-09-18T16:16:28.806" v="7" actId="2696"/>
        <pc:sldMkLst>
          <pc:docMk/>
          <pc:sldMk cId="3572404749" sldId="2147470618"/>
        </pc:sldMkLst>
      </pc:sldChg>
      <pc:sldChg chg="modSp mod">
        <pc:chgData name="Dwayne Natwick" userId="3561b13b-c7da-4a5b-9614-8a4db83ccfee" providerId="ADAL" clId="{F86C50F5-7C37-4B87-81B9-B2F74CBC3A4C}" dt="2023-09-18T16:17:10.415" v="43" actId="20577"/>
        <pc:sldMkLst>
          <pc:docMk/>
          <pc:sldMk cId="4211696148" sldId="2147470623"/>
        </pc:sldMkLst>
        <pc:spChg chg="mod">
          <ac:chgData name="Dwayne Natwick" userId="3561b13b-c7da-4a5b-9614-8a4db83ccfee" providerId="ADAL" clId="{F86C50F5-7C37-4B87-81B9-B2F74CBC3A4C}" dt="2023-09-18T16:17:00.606" v="16" actId="20577"/>
          <ac:spMkLst>
            <pc:docMk/>
            <pc:sldMk cId="4211696148" sldId="2147470623"/>
            <ac:spMk id="2" creationId="{BFA64A8C-98C4-0EC5-C359-C3F08F09CCD2}"/>
          </ac:spMkLst>
        </pc:spChg>
        <pc:spChg chg="mod">
          <ac:chgData name="Dwayne Natwick" userId="3561b13b-c7da-4a5b-9614-8a4db83ccfee" providerId="ADAL" clId="{F86C50F5-7C37-4B87-81B9-B2F74CBC3A4C}" dt="2023-09-18T16:17:10.415" v="43" actId="20577"/>
          <ac:spMkLst>
            <pc:docMk/>
            <pc:sldMk cId="4211696148" sldId="2147470623"/>
            <ac:spMk id="3" creationId="{8EBEE321-11FC-1E70-73C4-F9D3512763DC}"/>
          </ac:spMkLst>
        </pc:spChg>
      </pc:sldChg>
    </pc:docChg>
  </pc:docChgLst>
  <pc:docChgLst>
    <pc:chgData name="Dwayne Natwick" userId="3561b13b-c7da-4a5b-9614-8a4db83ccfee" providerId="ADAL" clId="{54F84794-9EA4-434B-B44E-34CC5A595DFB}"/>
    <pc:docChg chg="custSel addSld modSld">
      <pc:chgData name="Dwayne Natwick" userId="3561b13b-c7da-4a5b-9614-8a4db83ccfee" providerId="ADAL" clId="{54F84794-9EA4-434B-B44E-34CC5A595DFB}" dt="2023-11-13T15:56:44.975" v="489" actId="20577"/>
      <pc:docMkLst>
        <pc:docMk/>
      </pc:docMkLst>
      <pc:sldChg chg="modSp mod">
        <pc:chgData name="Dwayne Natwick" userId="3561b13b-c7da-4a5b-9614-8a4db83ccfee" providerId="ADAL" clId="{54F84794-9EA4-434B-B44E-34CC5A595DFB}" dt="2023-11-13T15:24:54.568" v="11" actId="20577"/>
        <pc:sldMkLst>
          <pc:docMk/>
          <pc:sldMk cId="19297968" sldId="2147470553"/>
        </pc:sldMkLst>
        <pc:spChg chg="mod">
          <ac:chgData name="Dwayne Natwick" userId="3561b13b-c7da-4a5b-9614-8a4db83ccfee" providerId="ADAL" clId="{54F84794-9EA4-434B-B44E-34CC5A595DFB}" dt="2023-11-13T15:24:54.568" v="11" actId="20577"/>
          <ac:spMkLst>
            <pc:docMk/>
            <pc:sldMk cId="19297968" sldId="2147470553"/>
            <ac:spMk id="2" creationId="{A1A8D485-FD33-2DA7-238E-EDF73027901B}"/>
          </ac:spMkLst>
        </pc:spChg>
      </pc:sldChg>
      <pc:sldChg chg="modSp mod">
        <pc:chgData name="Dwayne Natwick" userId="3561b13b-c7da-4a5b-9614-8a4db83ccfee" providerId="ADAL" clId="{54F84794-9EA4-434B-B44E-34CC5A595DFB}" dt="2023-11-13T15:25:58.015" v="65" actId="20577"/>
        <pc:sldMkLst>
          <pc:docMk/>
          <pc:sldMk cId="2945821040" sldId="2147470557"/>
        </pc:sldMkLst>
        <pc:spChg chg="mod">
          <ac:chgData name="Dwayne Natwick" userId="3561b13b-c7da-4a5b-9614-8a4db83ccfee" providerId="ADAL" clId="{54F84794-9EA4-434B-B44E-34CC5A595DFB}" dt="2023-11-13T15:25:39.355" v="27" actId="20577"/>
          <ac:spMkLst>
            <pc:docMk/>
            <pc:sldMk cId="2945821040" sldId="2147470557"/>
            <ac:spMk id="6" creationId="{34C8A714-55EC-40AC-B65A-1F994DEC5152}"/>
          </ac:spMkLst>
        </pc:spChg>
        <pc:spChg chg="mod">
          <ac:chgData name="Dwayne Natwick" userId="3561b13b-c7da-4a5b-9614-8a4db83ccfee" providerId="ADAL" clId="{54F84794-9EA4-434B-B44E-34CC5A595DFB}" dt="2023-11-13T15:25:46.162" v="37" actId="20577"/>
          <ac:spMkLst>
            <pc:docMk/>
            <pc:sldMk cId="2945821040" sldId="2147470557"/>
            <ac:spMk id="28" creationId="{C9EAB225-5AB7-686B-2B0B-5A0DA0699DAA}"/>
          </ac:spMkLst>
        </pc:spChg>
        <pc:spChg chg="mod">
          <ac:chgData name="Dwayne Natwick" userId="3561b13b-c7da-4a5b-9614-8a4db83ccfee" providerId="ADAL" clId="{54F84794-9EA4-434B-B44E-34CC5A595DFB}" dt="2023-11-13T15:25:53.542" v="55" actId="20577"/>
          <ac:spMkLst>
            <pc:docMk/>
            <pc:sldMk cId="2945821040" sldId="2147470557"/>
            <ac:spMk id="31" creationId="{396F3C3E-06A6-C7C0-E225-74DAE937B4B6}"/>
          </ac:spMkLst>
        </pc:spChg>
        <pc:spChg chg="mod">
          <ac:chgData name="Dwayne Natwick" userId="3561b13b-c7da-4a5b-9614-8a4db83ccfee" providerId="ADAL" clId="{54F84794-9EA4-434B-B44E-34CC5A595DFB}" dt="2023-11-13T15:25:58.015" v="65" actId="20577"/>
          <ac:spMkLst>
            <pc:docMk/>
            <pc:sldMk cId="2945821040" sldId="2147470557"/>
            <ac:spMk id="34" creationId="{A53BEA30-32DF-F647-94E1-F0D90C6E0D13}"/>
          </ac:spMkLst>
        </pc:spChg>
      </pc:sldChg>
      <pc:sldChg chg="modSp mod">
        <pc:chgData name="Dwayne Natwick" userId="3561b13b-c7da-4a5b-9614-8a4db83ccfee" providerId="ADAL" clId="{54F84794-9EA4-434B-B44E-34CC5A595DFB}" dt="2023-11-13T15:26:31.863" v="78" actId="6549"/>
        <pc:sldMkLst>
          <pc:docMk/>
          <pc:sldMk cId="3682517411" sldId="2147470559"/>
        </pc:sldMkLst>
        <pc:graphicFrameChg chg="modGraphic">
          <ac:chgData name="Dwayne Natwick" userId="3561b13b-c7da-4a5b-9614-8a4db83ccfee" providerId="ADAL" clId="{54F84794-9EA4-434B-B44E-34CC5A595DFB}" dt="2023-11-13T15:26:31.863" v="78" actId="6549"/>
          <ac:graphicFrameMkLst>
            <pc:docMk/>
            <pc:sldMk cId="3682517411" sldId="2147470559"/>
            <ac:graphicFrameMk id="8" creationId="{CC919F4A-A7D9-8DDD-DB16-BF7FF8DD9E3B}"/>
          </ac:graphicFrameMkLst>
        </pc:graphicFrameChg>
      </pc:sldChg>
      <pc:sldChg chg="modSp mod">
        <pc:chgData name="Dwayne Natwick" userId="3561b13b-c7da-4a5b-9614-8a4db83ccfee" providerId="ADAL" clId="{54F84794-9EA4-434B-B44E-34CC5A595DFB}" dt="2023-11-13T15:55:34.746" v="362" actId="6549"/>
        <pc:sldMkLst>
          <pc:docMk/>
          <pc:sldMk cId="4270848246" sldId="2147470560"/>
        </pc:sldMkLst>
        <pc:spChg chg="mod">
          <ac:chgData name="Dwayne Natwick" userId="3561b13b-c7da-4a5b-9614-8a4db83ccfee" providerId="ADAL" clId="{54F84794-9EA4-434B-B44E-34CC5A595DFB}" dt="2023-11-13T15:55:27.017" v="358" actId="6549"/>
          <ac:spMkLst>
            <pc:docMk/>
            <pc:sldMk cId="4270848246" sldId="2147470560"/>
            <ac:spMk id="18" creationId="{7D66421A-6C08-23BB-D770-A2A0FF91DD1C}"/>
          </ac:spMkLst>
        </pc:spChg>
        <pc:spChg chg="mod">
          <ac:chgData name="Dwayne Natwick" userId="3561b13b-c7da-4a5b-9614-8a4db83ccfee" providerId="ADAL" clId="{54F84794-9EA4-434B-B44E-34CC5A595DFB}" dt="2023-11-13T15:55:28.844" v="359" actId="6549"/>
          <ac:spMkLst>
            <pc:docMk/>
            <pc:sldMk cId="4270848246" sldId="2147470560"/>
            <ac:spMk id="21" creationId="{87ACA6E9-9681-99AA-65E6-65303BA5F10F}"/>
          </ac:spMkLst>
        </pc:spChg>
        <pc:spChg chg="mod">
          <ac:chgData name="Dwayne Natwick" userId="3561b13b-c7da-4a5b-9614-8a4db83ccfee" providerId="ADAL" clId="{54F84794-9EA4-434B-B44E-34CC5A595DFB}" dt="2023-11-13T15:55:31.033" v="360" actId="6549"/>
          <ac:spMkLst>
            <pc:docMk/>
            <pc:sldMk cId="4270848246" sldId="2147470560"/>
            <ac:spMk id="24" creationId="{86B4A3BC-B5A8-2BE0-1133-3BA9CB7EDFAB}"/>
          </ac:spMkLst>
        </pc:spChg>
        <pc:spChg chg="mod">
          <ac:chgData name="Dwayne Natwick" userId="3561b13b-c7da-4a5b-9614-8a4db83ccfee" providerId="ADAL" clId="{54F84794-9EA4-434B-B44E-34CC5A595DFB}" dt="2023-11-13T15:55:33.356" v="361" actId="6549"/>
          <ac:spMkLst>
            <pc:docMk/>
            <pc:sldMk cId="4270848246" sldId="2147470560"/>
            <ac:spMk id="27" creationId="{9ADD736A-323E-6575-0C10-C5BD32DE5235}"/>
          </ac:spMkLst>
        </pc:spChg>
        <pc:spChg chg="mod">
          <ac:chgData name="Dwayne Natwick" userId="3561b13b-c7da-4a5b-9614-8a4db83ccfee" providerId="ADAL" clId="{54F84794-9EA4-434B-B44E-34CC5A595DFB}" dt="2023-11-13T15:55:34.746" v="362" actId="6549"/>
          <ac:spMkLst>
            <pc:docMk/>
            <pc:sldMk cId="4270848246" sldId="2147470560"/>
            <ac:spMk id="30" creationId="{3DB7542E-ADDB-131A-48BF-8DE17592FCF3}"/>
          </ac:spMkLst>
        </pc:spChg>
      </pc:sldChg>
      <pc:sldChg chg="modSp mod">
        <pc:chgData name="Dwayne Natwick" userId="3561b13b-c7da-4a5b-9614-8a4db83ccfee" providerId="ADAL" clId="{54F84794-9EA4-434B-B44E-34CC5A595DFB}" dt="2023-11-13T15:27:00.046" v="96" actId="6549"/>
        <pc:sldMkLst>
          <pc:docMk/>
          <pc:sldMk cId="3644458694" sldId="2147470564"/>
        </pc:sldMkLst>
        <pc:spChg chg="mod">
          <ac:chgData name="Dwayne Natwick" userId="3561b13b-c7da-4a5b-9614-8a4db83ccfee" providerId="ADAL" clId="{54F84794-9EA4-434B-B44E-34CC5A595DFB}" dt="2023-11-13T15:26:53.529" v="93" actId="6549"/>
          <ac:spMkLst>
            <pc:docMk/>
            <pc:sldMk cId="3644458694" sldId="2147470564"/>
            <ac:spMk id="167" creationId="{D5F5558B-707E-639D-6D0D-A1F550396012}"/>
          </ac:spMkLst>
        </pc:spChg>
        <pc:spChg chg="mod">
          <ac:chgData name="Dwayne Natwick" userId="3561b13b-c7da-4a5b-9614-8a4db83ccfee" providerId="ADAL" clId="{54F84794-9EA4-434B-B44E-34CC5A595DFB}" dt="2023-11-13T15:26:49.509" v="91" actId="6549"/>
          <ac:spMkLst>
            <pc:docMk/>
            <pc:sldMk cId="3644458694" sldId="2147470564"/>
            <ac:spMk id="173" creationId="{C0632E7C-0241-61E1-D3F4-FCB185277595}"/>
          </ac:spMkLst>
        </pc:spChg>
        <pc:spChg chg="mod">
          <ac:chgData name="Dwayne Natwick" userId="3561b13b-c7da-4a5b-9614-8a4db83ccfee" providerId="ADAL" clId="{54F84794-9EA4-434B-B44E-34CC5A595DFB}" dt="2023-11-13T15:26:51.051" v="92" actId="6549"/>
          <ac:spMkLst>
            <pc:docMk/>
            <pc:sldMk cId="3644458694" sldId="2147470564"/>
            <ac:spMk id="181" creationId="{C01E1DF7-AFB3-BF3D-96A2-20CDD0FB59FE}"/>
          </ac:spMkLst>
        </pc:spChg>
        <pc:spChg chg="mod">
          <ac:chgData name="Dwayne Natwick" userId="3561b13b-c7da-4a5b-9614-8a4db83ccfee" providerId="ADAL" clId="{54F84794-9EA4-434B-B44E-34CC5A595DFB}" dt="2023-11-13T15:26:58.979" v="95" actId="6549"/>
          <ac:spMkLst>
            <pc:docMk/>
            <pc:sldMk cId="3644458694" sldId="2147470564"/>
            <ac:spMk id="185" creationId="{7CA9D89B-B694-6F39-9E6F-1CA0F13592F6}"/>
          </ac:spMkLst>
        </pc:spChg>
        <pc:spChg chg="mod">
          <ac:chgData name="Dwayne Natwick" userId="3561b13b-c7da-4a5b-9614-8a4db83ccfee" providerId="ADAL" clId="{54F84794-9EA4-434B-B44E-34CC5A595DFB}" dt="2023-11-13T15:27:00.046" v="96" actId="6549"/>
          <ac:spMkLst>
            <pc:docMk/>
            <pc:sldMk cId="3644458694" sldId="2147470564"/>
            <ac:spMk id="186" creationId="{2C77C621-8B24-9C01-BABF-AEA4AF1AAF56}"/>
          </ac:spMkLst>
        </pc:spChg>
        <pc:spChg chg="mod">
          <ac:chgData name="Dwayne Natwick" userId="3561b13b-c7da-4a5b-9614-8a4db83ccfee" providerId="ADAL" clId="{54F84794-9EA4-434B-B44E-34CC5A595DFB}" dt="2023-11-13T15:26:56.783" v="94" actId="6549"/>
          <ac:spMkLst>
            <pc:docMk/>
            <pc:sldMk cId="3644458694" sldId="2147470564"/>
            <ac:spMk id="190" creationId="{8C2E0BB3-B0A3-DD4D-435A-54DA558FC4BD}"/>
          </ac:spMkLst>
        </pc:spChg>
      </pc:sldChg>
      <pc:sldChg chg="modSp mod">
        <pc:chgData name="Dwayne Natwick" userId="3561b13b-c7da-4a5b-9614-8a4db83ccfee" providerId="ADAL" clId="{54F84794-9EA4-434B-B44E-34CC5A595DFB}" dt="2023-11-13T15:26:41.060" v="90" actId="20577"/>
        <pc:sldMkLst>
          <pc:docMk/>
          <pc:sldMk cId="2739312586" sldId="2147470565"/>
        </pc:sldMkLst>
        <pc:spChg chg="mod">
          <ac:chgData name="Dwayne Natwick" userId="3561b13b-c7da-4a5b-9614-8a4db83ccfee" providerId="ADAL" clId="{54F84794-9EA4-434B-B44E-34CC5A595DFB}" dt="2023-11-13T15:26:41.060" v="90" actId="20577"/>
          <ac:spMkLst>
            <pc:docMk/>
            <pc:sldMk cId="2739312586" sldId="2147470565"/>
            <ac:spMk id="4" creationId="{DAA5FD98-5292-2367-63BF-BB583BFC2A96}"/>
          </ac:spMkLst>
        </pc:spChg>
      </pc:sldChg>
      <pc:sldChg chg="modSp mod">
        <pc:chgData name="Dwayne Natwick" userId="3561b13b-c7da-4a5b-9614-8a4db83ccfee" providerId="ADAL" clId="{54F84794-9EA4-434B-B44E-34CC5A595DFB}" dt="2023-11-13T15:55:40.164" v="363" actId="6549"/>
        <pc:sldMkLst>
          <pc:docMk/>
          <pc:sldMk cId="2251723249" sldId="2147470571"/>
        </pc:sldMkLst>
        <pc:spChg chg="mod">
          <ac:chgData name="Dwayne Natwick" userId="3561b13b-c7da-4a5b-9614-8a4db83ccfee" providerId="ADAL" clId="{54F84794-9EA4-434B-B44E-34CC5A595DFB}" dt="2023-11-13T15:55:40.164" v="363" actId="6549"/>
          <ac:spMkLst>
            <pc:docMk/>
            <pc:sldMk cId="2251723249" sldId="2147470571"/>
            <ac:spMk id="4" creationId="{DAA5FD98-5292-2367-63BF-BB583BFC2A96}"/>
          </ac:spMkLst>
        </pc:spChg>
      </pc:sldChg>
      <pc:sldChg chg="modSp mod">
        <pc:chgData name="Dwayne Natwick" userId="3561b13b-c7da-4a5b-9614-8a4db83ccfee" providerId="ADAL" clId="{54F84794-9EA4-434B-B44E-34CC5A595DFB}" dt="2023-11-13T15:27:28.931" v="106" actId="20577"/>
        <pc:sldMkLst>
          <pc:docMk/>
          <pc:sldMk cId="948136224" sldId="2147470573"/>
        </pc:sldMkLst>
        <pc:spChg chg="mod">
          <ac:chgData name="Dwayne Natwick" userId="3561b13b-c7da-4a5b-9614-8a4db83ccfee" providerId="ADAL" clId="{54F84794-9EA4-434B-B44E-34CC5A595DFB}" dt="2023-11-13T15:27:18.958" v="97" actId="6549"/>
          <ac:spMkLst>
            <pc:docMk/>
            <pc:sldMk cId="948136224" sldId="2147470573"/>
            <ac:spMk id="2" creationId="{9818A146-7202-24EA-7B4D-99C422D5DB3F}"/>
          </ac:spMkLst>
        </pc:spChg>
        <pc:spChg chg="mod">
          <ac:chgData name="Dwayne Natwick" userId="3561b13b-c7da-4a5b-9614-8a4db83ccfee" providerId="ADAL" clId="{54F84794-9EA4-434B-B44E-34CC5A595DFB}" dt="2023-11-13T15:27:28.931" v="106" actId="20577"/>
          <ac:spMkLst>
            <pc:docMk/>
            <pc:sldMk cId="948136224" sldId="2147470573"/>
            <ac:spMk id="3" creationId="{8810F879-0D52-6206-A283-CE7E0B7E3C5D}"/>
          </ac:spMkLst>
        </pc:spChg>
      </pc:sldChg>
      <pc:sldChg chg="modSp mod">
        <pc:chgData name="Dwayne Natwick" userId="3561b13b-c7da-4a5b-9614-8a4db83ccfee" providerId="ADAL" clId="{54F84794-9EA4-434B-B44E-34CC5A595DFB}" dt="2023-11-13T15:30:33.683" v="126" actId="20577"/>
        <pc:sldMkLst>
          <pc:docMk/>
          <pc:sldMk cId="3649936595" sldId="2147470575"/>
        </pc:sldMkLst>
        <pc:spChg chg="mod">
          <ac:chgData name="Dwayne Natwick" userId="3561b13b-c7da-4a5b-9614-8a4db83ccfee" providerId="ADAL" clId="{54F84794-9EA4-434B-B44E-34CC5A595DFB}" dt="2023-11-13T15:30:33.683" v="126" actId="20577"/>
          <ac:spMkLst>
            <pc:docMk/>
            <pc:sldMk cId="3649936595" sldId="2147470575"/>
            <ac:spMk id="2" creationId="{8839F5C4-843E-DBAD-044B-1872C9832914}"/>
          </ac:spMkLst>
        </pc:spChg>
        <pc:spChg chg="mod">
          <ac:chgData name="Dwayne Natwick" userId="3561b13b-c7da-4a5b-9614-8a4db83ccfee" providerId="ADAL" clId="{54F84794-9EA4-434B-B44E-34CC5A595DFB}" dt="2023-11-13T15:30:12.360" v="116" actId="14100"/>
          <ac:spMkLst>
            <pc:docMk/>
            <pc:sldMk cId="3649936595" sldId="2147470575"/>
            <ac:spMk id="9" creationId="{7239C8F0-B9DF-87A5-21C6-7F2244DB4517}"/>
          </ac:spMkLst>
        </pc:spChg>
        <pc:picChg chg="mod">
          <ac:chgData name="Dwayne Natwick" userId="3561b13b-c7da-4a5b-9614-8a4db83ccfee" providerId="ADAL" clId="{54F84794-9EA4-434B-B44E-34CC5A595DFB}" dt="2023-11-13T15:30:07.566" v="115" actId="1076"/>
          <ac:picMkLst>
            <pc:docMk/>
            <pc:sldMk cId="3649936595" sldId="2147470575"/>
            <ac:picMk id="4" creationId="{5AF45389-AE37-8E5F-A9DE-5C05DCB87D6A}"/>
          </ac:picMkLst>
        </pc:picChg>
      </pc:sldChg>
      <pc:sldChg chg="modSp">
        <pc:chgData name="Dwayne Natwick" userId="3561b13b-c7da-4a5b-9614-8a4db83ccfee" providerId="ADAL" clId="{54F84794-9EA4-434B-B44E-34CC5A595DFB}" dt="2023-11-13T15:54:43.416" v="356" actId="20577"/>
        <pc:sldMkLst>
          <pc:docMk/>
          <pc:sldMk cId="511214272" sldId="2147470576"/>
        </pc:sldMkLst>
        <pc:graphicFrameChg chg="mod">
          <ac:chgData name="Dwayne Natwick" userId="3561b13b-c7da-4a5b-9614-8a4db83ccfee" providerId="ADAL" clId="{54F84794-9EA4-434B-B44E-34CC5A595DFB}" dt="2023-11-13T15:54:43.416" v="356" actId="20577"/>
          <ac:graphicFrameMkLst>
            <pc:docMk/>
            <pc:sldMk cId="511214272" sldId="2147470576"/>
            <ac:graphicFrameMk id="5" creationId="{0F261073-2BAD-D61A-DB99-49C156412A8F}"/>
          </ac:graphicFrameMkLst>
        </pc:graphicFrameChg>
      </pc:sldChg>
      <pc:sldChg chg="modSp mod">
        <pc:chgData name="Dwayne Natwick" userId="3561b13b-c7da-4a5b-9614-8a4db83ccfee" providerId="ADAL" clId="{54F84794-9EA4-434B-B44E-34CC5A595DFB}" dt="2023-11-13T15:55:18.735" v="357" actId="6549"/>
        <pc:sldMkLst>
          <pc:docMk/>
          <pc:sldMk cId="4196600117" sldId="2147470577"/>
        </pc:sldMkLst>
        <pc:spChg chg="mod">
          <ac:chgData name="Dwayne Natwick" userId="3561b13b-c7da-4a5b-9614-8a4db83ccfee" providerId="ADAL" clId="{54F84794-9EA4-434B-B44E-34CC5A595DFB}" dt="2023-11-13T15:55:18.735" v="357" actId="6549"/>
          <ac:spMkLst>
            <pc:docMk/>
            <pc:sldMk cId="4196600117" sldId="2147470577"/>
            <ac:spMk id="3" creationId="{6EC7CC27-14D6-DF5B-9E38-E7E4DDE94B23}"/>
          </ac:spMkLst>
        </pc:spChg>
      </pc:sldChg>
      <pc:sldChg chg="modSp">
        <pc:chgData name="Dwayne Natwick" userId="3561b13b-c7da-4a5b-9614-8a4db83ccfee" providerId="ADAL" clId="{54F84794-9EA4-434B-B44E-34CC5A595DFB}" dt="2023-11-13T15:32:53.698" v="206" actId="20577"/>
        <pc:sldMkLst>
          <pc:docMk/>
          <pc:sldMk cId="1437570267" sldId="2147470580"/>
        </pc:sldMkLst>
        <pc:graphicFrameChg chg="mod">
          <ac:chgData name="Dwayne Natwick" userId="3561b13b-c7da-4a5b-9614-8a4db83ccfee" providerId="ADAL" clId="{54F84794-9EA4-434B-B44E-34CC5A595DFB}" dt="2023-11-13T15:32:53.698" v="206" actId="20577"/>
          <ac:graphicFrameMkLst>
            <pc:docMk/>
            <pc:sldMk cId="1437570267" sldId="2147470580"/>
            <ac:graphicFrameMk id="7" creationId="{3A80CE1E-78CC-6677-9E1F-AD6A51F41468}"/>
          </ac:graphicFrameMkLst>
        </pc:graphicFrameChg>
      </pc:sldChg>
      <pc:sldChg chg="modSp mod">
        <pc:chgData name="Dwayne Natwick" userId="3561b13b-c7da-4a5b-9614-8a4db83ccfee" providerId="ADAL" clId="{54F84794-9EA4-434B-B44E-34CC5A595DFB}" dt="2023-11-13T15:27:51.802" v="107" actId="6549"/>
        <pc:sldMkLst>
          <pc:docMk/>
          <pc:sldMk cId="3650723693" sldId="2147470585"/>
        </pc:sldMkLst>
        <pc:spChg chg="mod">
          <ac:chgData name="Dwayne Natwick" userId="3561b13b-c7da-4a5b-9614-8a4db83ccfee" providerId="ADAL" clId="{54F84794-9EA4-434B-B44E-34CC5A595DFB}" dt="2023-11-13T15:27:51.802" v="107" actId="6549"/>
          <ac:spMkLst>
            <pc:docMk/>
            <pc:sldMk cId="3650723693" sldId="2147470585"/>
            <ac:spMk id="3" creationId="{8810F879-0D52-6206-A283-CE7E0B7E3C5D}"/>
          </ac:spMkLst>
        </pc:spChg>
      </pc:sldChg>
      <pc:sldChg chg="modSp mod">
        <pc:chgData name="Dwayne Natwick" userId="3561b13b-c7da-4a5b-9614-8a4db83ccfee" providerId="ADAL" clId="{54F84794-9EA4-434B-B44E-34CC5A595DFB}" dt="2023-11-13T15:28:28.087" v="108" actId="6549"/>
        <pc:sldMkLst>
          <pc:docMk/>
          <pc:sldMk cId="694622249" sldId="2147470586"/>
        </pc:sldMkLst>
        <pc:spChg chg="mod">
          <ac:chgData name="Dwayne Natwick" userId="3561b13b-c7da-4a5b-9614-8a4db83ccfee" providerId="ADAL" clId="{54F84794-9EA4-434B-B44E-34CC5A595DFB}" dt="2023-11-13T15:28:28.087" v="108" actId="6549"/>
          <ac:spMkLst>
            <pc:docMk/>
            <pc:sldMk cId="694622249" sldId="2147470586"/>
            <ac:spMk id="2" creationId="{4F03887C-60C2-A9BC-7D57-446E94505E95}"/>
          </ac:spMkLst>
        </pc:spChg>
      </pc:sldChg>
      <pc:sldChg chg="modSp mod">
        <pc:chgData name="Dwayne Natwick" userId="3561b13b-c7da-4a5b-9614-8a4db83ccfee" providerId="ADAL" clId="{54F84794-9EA4-434B-B44E-34CC5A595DFB}" dt="2023-11-13T15:29:23.140" v="112" actId="20577"/>
        <pc:sldMkLst>
          <pc:docMk/>
          <pc:sldMk cId="347590927" sldId="2147470587"/>
        </pc:sldMkLst>
        <pc:spChg chg="mod">
          <ac:chgData name="Dwayne Natwick" userId="3561b13b-c7da-4a5b-9614-8a4db83ccfee" providerId="ADAL" clId="{54F84794-9EA4-434B-B44E-34CC5A595DFB}" dt="2023-11-13T15:29:23.140" v="112" actId="20577"/>
          <ac:spMkLst>
            <pc:docMk/>
            <pc:sldMk cId="347590927" sldId="2147470587"/>
            <ac:spMk id="2" creationId="{49ED4149-7D80-DC24-D85C-E8F8E2138C6D}"/>
          </ac:spMkLst>
        </pc:spChg>
        <pc:graphicFrameChg chg="mod">
          <ac:chgData name="Dwayne Natwick" userId="3561b13b-c7da-4a5b-9614-8a4db83ccfee" providerId="ADAL" clId="{54F84794-9EA4-434B-B44E-34CC5A595DFB}" dt="2023-11-13T15:28:45.118" v="109" actId="20577"/>
          <ac:graphicFrameMkLst>
            <pc:docMk/>
            <pc:sldMk cId="347590927" sldId="2147470587"/>
            <ac:graphicFrameMk id="5" creationId="{F1C54563-A4E7-4C95-AE2A-C0580B3CA81E}"/>
          </ac:graphicFrameMkLst>
        </pc:graphicFrameChg>
      </pc:sldChg>
      <pc:sldChg chg="modSp">
        <pc:chgData name="Dwayne Natwick" userId="3561b13b-c7da-4a5b-9614-8a4db83ccfee" providerId="ADAL" clId="{54F84794-9EA4-434B-B44E-34CC5A595DFB}" dt="2023-11-13T15:52:32.144" v="354" actId="20577"/>
        <pc:sldMkLst>
          <pc:docMk/>
          <pc:sldMk cId="2214484181" sldId="2147470588"/>
        </pc:sldMkLst>
        <pc:graphicFrameChg chg="mod">
          <ac:chgData name="Dwayne Natwick" userId="3561b13b-c7da-4a5b-9614-8a4db83ccfee" providerId="ADAL" clId="{54F84794-9EA4-434B-B44E-34CC5A595DFB}" dt="2023-11-13T15:52:32.144" v="354" actId="20577"/>
          <ac:graphicFrameMkLst>
            <pc:docMk/>
            <pc:sldMk cId="2214484181" sldId="2147470588"/>
            <ac:graphicFrameMk id="5" creationId="{F0FC495E-D653-EBE3-078E-A8B68A55A8FA}"/>
          </ac:graphicFrameMkLst>
        </pc:graphicFrameChg>
      </pc:sldChg>
      <pc:sldChg chg="mod modShow">
        <pc:chgData name="Dwayne Natwick" userId="3561b13b-c7da-4a5b-9614-8a4db83ccfee" providerId="ADAL" clId="{54F84794-9EA4-434B-B44E-34CC5A595DFB}" dt="2023-11-13T15:29:45.121" v="113" actId="729"/>
        <pc:sldMkLst>
          <pc:docMk/>
          <pc:sldMk cId="1568180102" sldId="2147470591"/>
        </pc:sldMkLst>
      </pc:sldChg>
      <pc:sldChg chg="modSp">
        <pc:chgData name="Dwayne Natwick" userId="3561b13b-c7da-4a5b-9614-8a4db83ccfee" providerId="ADAL" clId="{54F84794-9EA4-434B-B44E-34CC5A595DFB}" dt="2023-11-13T15:31:45.747" v="176" actId="20577"/>
        <pc:sldMkLst>
          <pc:docMk/>
          <pc:sldMk cId="3381500547" sldId="2147470595"/>
        </pc:sldMkLst>
        <pc:graphicFrameChg chg="mod">
          <ac:chgData name="Dwayne Natwick" userId="3561b13b-c7da-4a5b-9614-8a4db83ccfee" providerId="ADAL" clId="{54F84794-9EA4-434B-B44E-34CC5A595DFB}" dt="2023-11-13T15:31:45.747" v="176" actId="20577"/>
          <ac:graphicFrameMkLst>
            <pc:docMk/>
            <pc:sldMk cId="3381500547" sldId="2147470595"/>
            <ac:graphicFrameMk id="11" creationId="{2183D4C5-A866-40A4-5694-A87F596A4052}"/>
          </ac:graphicFrameMkLst>
        </pc:graphicFrameChg>
      </pc:sldChg>
      <pc:sldChg chg="modSp mod">
        <pc:chgData name="Dwayne Natwick" userId="3561b13b-c7da-4a5b-9614-8a4db83ccfee" providerId="ADAL" clId="{54F84794-9EA4-434B-B44E-34CC5A595DFB}" dt="2023-11-13T15:31:02.142" v="129" actId="6549"/>
        <pc:sldMkLst>
          <pc:docMk/>
          <pc:sldMk cId="1103145275" sldId="2147470598"/>
        </pc:sldMkLst>
        <pc:spChg chg="mod">
          <ac:chgData name="Dwayne Natwick" userId="3561b13b-c7da-4a5b-9614-8a4db83ccfee" providerId="ADAL" clId="{54F84794-9EA4-434B-B44E-34CC5A595DFB}" dt="2023-11-13T15:30:58.464" v="128" actId="6549"/>
          <ac:spMkLst>
            <pc:docMk/>
            <pc:sldMk cId="1103145275" sldId="2147470598"/>
            <ac:spMk id="2" creationId="{C83B6E44-5BA6-5E05-4F62-06C1C1B4745F}"/>
          </ac:spMkLst>
        </pc:spChg>
        <pc:spChg chg="mod">
          <ac:chgData name="Dwayne Natwick" userId="3561b13b-c7da-4a5b-9614-8a4db83ccfee" providerId="ADAL" clId="{54F84794-9EA4-434B-B44E-34CC5A595DFB}" dt="2023-11-13T15:31:02.142" v="129" actId="6549"/>
          <ac:spMkLst>
            <pc:docMk/>
            <pc:sldMk cId="1103145275" sldId="2147470598"/>
            <ac:spMk id="3" creationId="{F8D78B17-9AC1-3773-F5A7-05FB325AB696}"/>
          </ac:spMkLst>
        </pc:spChg>
      </pc:sldChg>
      <pc:sldChg chg="modSp">
        <pc:chgData name="Dwayne Natwick" userId="3561b13b-c7da-4a5b-9614-8a4db83ccfee" providerId="ADAL" clId="{54F84794-9EA4-434B-B44E-34CC5A595DFB}" dt="2023-11-13T15:32:16.498" v="178" actId="20577"/>
        <pc:sldMkLst>
          <pc:docMk/>
          <pc:sldMk cId="2015539757" sldId="2147470599"/>
        </pc:sldMkLst>
        <pc:graphicFrameChg chg="mod">
          <ac:chgData name="Dwayne Natwick" userId="3561b13b-c7da-4a5b-9614-8a4db83ccfee" providerId="ADAL" clId="{54F84794-9EA4-434B-B44E-34CC5A595DFB}" dt="2023-11-13T15:32:16.498" v="178" actId="20577"/>
          <ac:graphicFrameMkLst>
            <pc:docMk/>
            <pc:sldMk cId="2015539757" sldId="2147470599"/>
            <ac:graphicFrameMk id="11" creationId="{6281DC71-4E38-C0BA-1574-1BD154A67139}"/>
          </ac:graphicFrameMkLst>
        </pc:graphicFrameChg>
      </pc:sldChg>
      <pc:sldChg chg="modSp mod">
        <pc:chgData name="Dwayne Natwick" userId="3561b13b-c7da-4a5b-9614-8a4db83ccfee" providerId="ADAL" clId="{54F84794-9EA4-434B-B44E-34CC5A595DFB}" dt="2023-11-13T15:56:44.975" v="489" actId="20577"/>
        <pc:sldMkLst>
          <pc:docMk/>
          <pc:sldMk cId="1720323407" sldId="2147470604"/>
        </pc:sldMkLst>
        <pc:spChg chg="mod">
          <ac:chgData name="Dwayne Natwick" userId="3561b13b-c7da-4a5b-9614-8a4db83ccfee" providerId="ADAL" clId="{54F84794-9EA4-434B-B44E-34CC5A595DFB}" dt="2023-11-13T15:55:47.970" v="365" actId="6549"/>
          <ac:spMkLst>
            <pc:docMk/>
            <pc:sldMk cId="1720323407" sldId="2147470604"/>
            <ac:spMk id="21" creationId="{68C8CFE1-65AB-E14A-D550-F9CC1A93CFC5}"/>
          </ac:spMkLst>
        </pc:spChg>
        <pc:spChg chg="mod">
          <ac:chgData name="Dwayne Natwick" userId="3561b13b-c7da-4a5b-9614-8a4db83ccfee" providerId="ADAL" clId="{54F84794-9EA4-434B-B44E-34CC5A595DFB}" dt="2023-11-13T15:56:08.835" v="396" actId="20577"/>
          <ac:spMkLst>
            <pc:docMk/>
            <pc:sldMk cId="1720323407" sldId="2147470604"/>
            <ac:spMk id="27" creationId="{2110CA23-E319-B299-E485-6F98BFAFC1EC}"/>
          </ac:spMkLst>
        </pc:spChg>
        <pc:spChg chg="mod">
          <ac:chgData name="Dwayne Natwick" userId="3561b13b-c7da-4a5b-9614-8a4db83ccfee" providerId="ADAL" clId="{54F84794-9EA4-434B-B44E-34CC5A595DFB}" dt="2023-11-13T15:56:44.975" v="489" actId="20577"/>
          <ac:spMkLst>
            <pc:docMk/>
            <pc:sldMk cId="1720323407" sldId="2147470604"/>
            <ac:spMk id="28" creationId="{0A250D4B-4C44-4636-CA86-49CB47665514}"/>
          </ac:spMkLst>
        </pc:spChg>
        <pc:spChg chg="mod">
          <ac:chgData name="Dwayne Natwick" userId="3561b13b-c7da-4a5b-9614-8a4db83ccfee" providerId="ADAL" clId="{54F84794-9EA4-434B-B44E-34CC5A595DFB}" dt="2023-11-13T15:55:54.514" v="369" actId="20577"/>
          <ac:spMkLst>
            <pc:docMk/>
            <pc:sldMk cId="1720323407" sldId="2147470604"/>
            <ac:spMk id="32" creationId="{93C8FB2B-8EDA-992B-5C01-296093DB1125}"/>
          </ac:spMkLst>
        </pc:spChg>
      </pc:sldChg>
      <pc:sldChg chg="modSp">
        <pc:chgData name="Dwayne Natwick" userId="3561b13b-c7da-4a5b-9614-8a4db83ccfee" providerId="ADAL" clId="{54F84794-9EA4-434B-B44E-34CC5A595DFB}" dt="2023-11-13T15:33:47.485" v="223" actId="20577"/>
        <pc:sldMkLst>
          <pc:docMk/>
          <pc:sldMk cId="379969417" sldId="2147470609"/>
        </pc:sldMkLst>
        <pc:graphicFrameChg chg="mod">
          <ac:chgData name="Dwayne Natwick" userId="3561b13b-c7da-4a5b-9614-8a4db83ccfee" providerId="ADAL" clId="{54F84794-9EA4-434B-B44E-34CC5A595DFB}" dt="2023-11-13T15:33:47.485" v="223" actId="20577"/>
          <ac:graphicFrameMkLst>
            <pc:docMk/>
            <pc:sldMk cId="379969417" sldId="2147470609"/>
            <ac:graphicFrameMk id="6" creationId="{8F951D51-311C-2EFC-35E8-15B871457F00}"/>
          </ac:graphicFrameMkLst>
        </pc:graphicFrameChg>
      </pc:sldChg>
      <pc:sldChg chg="modSp">
        <pc:chgData name="Dwayne Natwick" userId="3561b13b-c7da-4a5b-9614-8a4db83ccfee" providerId="ADAL" clId="{54F84794-9EA4-434B-B44E-34CC5A595DFB}" dt="2023-11-13T15:35:23.190" v="256" actId="20577"/>
        <pc:sldMkLst>
          <pc:docMk/>
          <pc:sldMk cId="2421521076" sldId="2147470611"/>
        </pc:sldMkLst>
        <pc:graphicFrameChg chg="mod">
          <ac:chgData name="Dwayne Natwick" userId="3561b13b-c7da-4a5b-9614-8a4db83ccfee" providerId="ADAL" clId="{54F84794-9EA4-434B-B44E-34CC5A595DFB}" dt="2023-11-13T15:35:23.190" v="256" actId="20577"/>
          <ac:graphicFrameMkLst>
            <pc:docMk/>
            <pc:sldMk cId="2421521076" sldId="2147470611"/>
            <ac:graphicFrameMk id="5" creationId="{A5BBB90B-5CC9-A280-14DC-2C91D4F347EE}"/>
          </ac:graphicFrameMkLst>
        </pc:graphicFrameChg>
      </pc:sldChg>
      <pc:sldChg chg="modSp mod">
        <pc:chgData name="Dwayne Natwick" userId="3561b13b-c7da-4a5b-9614-8a4db83ccfee" providerId="ADAL" clId="{54F84794-9EA4-434B-B44E-34CC5A595DFB}" dt="2023-11-13T15:36:51.119" v="311" actId="20577"/>
        <pc:sldMkLst>
          <pc:docMk/>
          <pc:sldMk cId="3770102974" sldId="2147470620"/>
        </pc:sldMkLst>
        <pc:spChg chg="mod">
          <ac:chgData name="Dwayne Natwick" userId="3561b13b-c7da-4a5b-9614-8a4db83ccfee" providerId="ADAL" clId="{54F84794-9EA4-434B-B44E-34CC5A595DFB}" dt="2023-11-13T15:36:20.297" v="293" actId="20577"/>
          <ac:spMkLst>
            <pc:docMk/>
            <pc:sldMk cId="3770102974" sldId="2147470620"/>
            <ac:spMk id="2" creationId="{CFCF5E71-8482-5C4A-1937-62180CED69B1}"/>
          </ac:spMkLst>
        </pc:spChg>
        <pc:graphicFrameChg chg="mod">
          <ac:chgData name="Dwayne Natwick" userId="3561b13b-c7da-4a5b-9614-8a4db83ccfee" providerId="ADAL" clId="{54F84794-9EA4-434B-B44E-34CC5A595DFB}" dt="2023-11-13T15:36:51.119" v="311" actId="20577"/>
          <ac:graphicFrameMkLst>
            <pc:docMk/>
            <pc:sldMk cId="3770102974" sldId="2147470620"/>
            <ac:graphicFrameMk id="7" creationId="{A219546F-E536-A279-B526-1AE693C0FEBC}"/>
          </ac:graphicFrameMkLst>
        </pc:graphicFrameChg>
      </pc:sldChg>
      <pc:sldChg chg="modSp mod">
        <pc:chgData name="Dwayne Natwick" userId="3561b13b-c7da-4a5b-9614-8a4db83ccfee" providerId="ADAL" clId="{54F84794-9EA4-434B-B44E-34CC5A595DFB}" dt="2023-11-13T15:37:52.237" v="353" actId="20577"/>
        <pc:sldMkLst>
          <pc:docMk/>
          <pc:sldMk cId="1675599562" sldId="2147470622"/>
        </pc:sldMkLst>
        <pc:spChg chg="mod">
          <ac:chgData name="Dwayne Natwick" userId="3561b13b-c7da-4a5b-9614-8a4db83ccfee" providerId="ADAL" clId="{54F84794-9EA4-434B-B44E-34CC5A595DFB}" dt="2023-11-13T15:37:52.237" v="353" actId="20577"/>
          <ac:spMkLst>
            <pc:docMk/>
            <pc:sldMk cId="1675599562" sldId="2147470622"/>
            <ac:spMk id="3" creationId="{226A9B3B-731B-E601-049B-025098728B19}"/>
          </ac:spMkLst>
        </pc:spChg>
      </pc:sldChg>
      <pc:sldChg chg="modSp add mod">
        <pc:chgData name="Dwayne Natwick" userId="3561b13b-c7da-4a5b-9614-8a4db83ccfee" providerId="ADAL" clId="{54F84794-9EA4-434B-B44E-34CC5A595DFB}" dt="2023-11-13T15:31:08.842" v="131" actId="6549"/>
        <pc:sldMkLst>
          <pc:docMk/>
          <pc:sldMk cId="4194513998" sldId="2147470626"/>
        </pc:sldMkLst>
        <pc:spChg chg="mod">
          <ac:chgData name="Dwayne Natwick" userId="3561b13b-c7da-4a5b-9614-8a4db83ccfee" providerId="ADAL" clId="{54F84794-9EA4-434B-B44E-34CC5A595DFB}" dt="2023-11-13T15:31:08.842" v="131" actId="6549"/>
          <ac:spMkLst>
            <pc:docMk/>
            <pc:sldMk cId="4194513998" sldId="2147470626"/>
            <ac:spMk id="2" creationId="{C83B6E44-5BA6-5E05-4F62-06C1C1B4745F}"/>
          </ac:spMkLst>
        </pc:spChg>
        <pc:spChg chg="mod">
          <ac:chgData name="Dwayne Natwick" userId="3561b13b-c7da-4a5b-9614-8a4db83ccfee" providerId="ADAL" clId="{54F84794-9EA4-434B-B44E-34CC5A595DFB}" dt="2023-11-13T15:31:06.629" v="130" actId="6549"/>
          <ac:spMkLst>
            <pc:docMk/>
            <pc:sldMk cId="4194513998" sldId="2147470626"/>
            <ac:spMk id="3" creationId="{F8D78B17-9AC1-3773-F5A7-05FB325AB696}"/>
          </ac:spMkLst>
        </pc:spChg>
      </pc:sldChg>
    </pc:docChg>
  </pc:docChgLst>
  <pc:docChgLst>
    <pc:chgData name="Dwayne Natwick" userId="d11f0013982d5c78" providerId="LiveId" clId="{7C12B80F-4F5C-4C3B-86BC-48E3B79C03DA}"/>
    <pc:docChg chg="custSel addSld delSld modSld">
      <pc:chgData name="Dwayne Natwick" userId="d11f0013982d5c78" providerId="LiveId" clId="{7C12B80F-4F5C-4C3B-86BC-48E3B79C03DA}" dt="2023-09-15T12:30:56.786" v="14" actId="20577"/>
      <pc:docMkLst>
        <pc:docMk/>
      </pc:docMkLst>
      <pc:sldChg chg="del">
        <pc:chgData name="Dwayne Natwick" userId="d11f0013982d5c78" providerId="LiveId" clId="{7C12B80F-4F5C-4C3B-86BC-48E3B79C03DA}" dt="2023-09-15T12:30:23.826" v="1" actId="47"/>
        <pc:sldMkLst>
          <pc:docMk/>
          <pc:sldMk cId="3164376787" sldId="2076137029"/>
        </pc:sldMkLst>
      </pc:sldChg>
      <pc:sldChg chg="del">
        <pc:chgData name="Dwayne Natwick" userId="d11f0013982d5c78" providerId="LiveId" clId="{7C12B80F-4F5C-4C3B-86BC-48E3B79C03DA}" dt="2023-09-15T12:30:23.826" v="1" actId="47"/>
        <pc:sldMkLst>
          <pc:docMk/>
          <pc:sldMk cId="2024722602" sldId="2145705724"/>
        </pc:sldMkLst>
      </pc:sldChg>
      <pc:sldChg chg="del">
        <pc:chgData name="Dwayne Natwick" userId="d11f0013982d5c78" providerId="LiveId" clId="{7C12B80F-4F5C-4C3B-86BC-48E3B79C03DA}" dt="2023-09-15T12:30:23.826" v="1" actId="47"/>
        <pc:sldMkLst>
          <pc:docMk/>
          <pc:sldMk cId="682611613" sldId="2147470555"/>
        </pc:sldMkLst>
      </pc:sldChg>
      <pc:sldChg chg="add">
        <pc:chgData name="Dwayne Natwick" userId="d11f0013982d5c78" providerId="LiveId" clId="{7C12B80F-4F5C-4C3B-86BC-48E3B79C03DA}" dt="2023-09-15T12:30:02.174" v="0"/>
        <pc:sldMkLst>
          <pc:docMk/>
          <pc:sldMk cId="1720323407" sldId="2147470604"/>
        </pc:sldMkLst>
      </pc:sldChg>
      <pc:sldChg chg="add">
        <pc:chgData name="Dwayne Natwick" userId="d11f0013982d5c78" providerId="LiveId" clId="{7C12B80F-4F5C-4C3B-86BC-48E3B79C03DA}" dt="2023-09-15T12:30:02.174" v="0"/>
        <pc:sldMkLst>
          <pc:docMk/>
          <pc:sldMk cId="2839524364" sldId="2147470607"/>
        </pc:sldMkLst>
      </pc:sldChg>
      <pc:sldChg chg="add">
        <pc:chgData name="Dwayne Natwick" userId="d11f0013982d5c78" providerId="LiveId" clId="{7C12B80F-4F5C-4C3B-86BC-48E3B79C03DA}" dt="2023-09-15T12:30:02.174" v="0"/>
        <pc:sldMkLst>
          <pc:docMk/>
          <pc:sldMk cId="4086260143" sldId="2147470608"/>
        </pc:sldMkLst>
      </pc:sldChg>
      <pc:sldChg chg="add">
        <pc:chgData name="Dwayne Natwick" userId="d11f0013982d5c78" providerId="LiveId" clId="{7C12B80F-4F5C-4C3B-86BC-48E3B79C03DA}" dt="2023-09-15T12:30:02.174" v="0"/>
        <pc:sldMkLst>
          <pc:docMk/>
          <pc:sldMk cId="379969417" sldId="2147470609"/>
        </pc:sldMkLst>
      </pc:sldChg>
      <pc:sldChg chg="add">
        <pc:chgData name="Dwayne Natwick" userId="d11f0013982d5c78" providerId="LiveId" clId="{7C12B80F-4F5C-4C3B-86BC-48E3B79C03DA}" dt="2023-09-15T12:30:02.174" v="0"/>
        <pc:sldMkLst>
          <pc:docMk/>
          <pc:sldMk cId="1929971971" sldId="2147470610"/>
        </pc:sldMkLst>
      </pc:sldChg>
      <pc:sldChg chg="add">
        <pc:chgData name="Dwayne Natwick" userId="d11f0013982d5c78" providerId="LiveId" clId="{7C12B80F-4F5C-4C3B-86BC-48E3B79C03DA}" dt="2023-09-15T12:30:02.174" v="0"/>
        <pc:sldMkLst>
          <pc:docMk/>
          <pc:sldMk cId="2421521076" sldId="2147470611"/>
        </pc:sldMkLst>
      </pc:sldChg>
      <pc:sldChg chg="add">
        <pc:chgData name="Dwayne Natwick" userId="d11f0013982d5c78" providerId="LiveId" clId="{7C12B80F-4F5C-4C3B-86BC-48E3B79C03DA}" dt="2023-09-15T12:30:02.174" v="0"/>
        <pc:sldMkLst>
          <pc:docMk/>
          <pc:sldMk cId="2524577050" sldId="2147470612"/>
        </pc:sldMkLst>
      </pc:sldChg>
      <pc:sldChg chg="add">
        <pc:chgData name="Dwayne Natwick" userId="d11f0013982d5c78" providerId="LiveId" clId="{7C12B80F-4F5C-4C3B-86BC-48E3B79C03DA}" dt="2023-09-15T12:30:02.174" v="0"/>
        <pc:sldMkLst>
          <pc:docMk/>
          <pc:sldMk cId="848203549" sldId="2147470613"/>
        </pc:sldMkLst>
      </pc:sldChg>
      <pc:sldChg chg="add">
        <pc:chgData name="Dwayne Natwick" userId="d11f0013982d5c78" providerId="LiveId" clId="{7C12B80F-4F5C-4C3B-86BC-48E3B79C03DA}" dt="2023-09-15T12:30:02.174" v="0"/>
        <pc:sldMkLst>
          <pc:docMk/>
          <pc:sldMk cId="572556567" sldId="2147470614"/>
        </pc:sldMkLst>
      </pc:sldChg>
      <pc:sldChg chg="add">
        <pc:chgData name="Dwayne Natwick" userId="d11f0013982d5c78" providerId="LiveId" clId="{7C12B80F-4F5C-4C3B-86BC-48E3B79C03DA}" dt="2023-09-15T12:30:02.174" v="0"/>
        <pc:sldMkLst>
          <pc:docMk/>
          <pc:sldMk cId="3933044535" sldId="2147470615"/>
        </pc:sldMkLst>
      </pc:sldChg>
      <pc:sldChg chg="add">
        <pc:chgData name="Dwayne Natwick" userId="d11f0013982d5c78" providerId="LiveId" clId="{7C12B80F-4F5C-4C3B-86BC-48E3B79C03DA}" dt="2023-09-15T12:30:02.174" v="0"/>
        <pc:sldMkLst>
          <pc:docMk/>
          <pc:sldMk cId="3572404749" sldId="2147470618"/>
        </pc:sldMkLst>
      </pc:sldChg>
      <pc:sldChg chg="add">
        <pc:chgData name="Dwayne Natwick" userId="d11f0013982d5c78" providerId="LiveId" clId="{7C12B80F-4F5C-4C3B-86BC-48E3B79C03DA}" dt="2023-09-15T12:30:02.174" v="0"/>
        <pc:sldMkLst>
          <pc:docMk/>
          <pc:sldMk cId="2409884957" sldId="2147470619"/>
        </pc:sldMkLst>
      </pc:sldChg>
      <pc:sldChg chg="add">
        <pc:chgData name="Dwayne Natwick" userId="d11f0013982d5c78" providerId="LiveId" clId="{7C12B80F-4F5C-4C3B-86BC-48E3B79C03DA}" dt="2023-09-15T12:30:02.174" v="0"/>
        <pc:sldMkLst>
          <pc:docMk/>
          <pc:sldMk cId="3770102974" sldId="2147470620"/>
        </pc:sldMkLst>
      </pc:sldChg>
      <pc:sldChg chg="add">
        <pc:chgData name="Dwayne Natwick" userId="d11f0013982d5c78" providerId="LiveId" clId="{7C12B80F-4F5C-4C3B-86BC-48E3B79C03DA}" dt="2023-09-15T12:30:02.174" v="0"/>
        <pc:sldMkLst>
          <pc:docMk/>
          <pc:sldMk cId="3776730813" sldId="2147470621"/>
        </pc:sldMkLst>
      </pc:sldChg>
      <pc:sldChg chg="add">
        <pc:chgData name="Dwayne Natwick" userId="d11f0013982d5c78" providerId="LiveId" clId="{7C12B80F-4F5C-4C3B-86BC-48E3B79C03DA}" dt="2023-09-15T12:30:02.174" v="0"/>
        <pc:sldMkLst>
          <pc:docMk/>
          <pc:sldMk cId="1675599562" sldId="2147470622"/>
        </pc:sldMkLst>
      </pc:sldChg>
      <pc:sldChg chg="add">
        <pc:chgData name="Dwayne Natwick" userId="d11f0013982d5c78" providerId="LiveId" clId="{7C12B80F-4F5C-4C3B-86BC-48E3B79C03DA}" dt="2023-09-15T12:30:02.174" v="0"/>
        <pc:sldMkLst>
          <pc:docMk/>
          <pc:sldMk cId="4211696148" sldId="2147470623"/>
        </pc:sldMkLst>
      </pc:sldChg>
      <pc:sldChg chg="add">
        <pc:chgData name="Dwayne Natwick" userId="d11f0013982d5c78" providerId="LiveId" clId="{7C12B80F-4F5C-4C3B-86BC-48E3B79C03DA}" dt="2023-09-15T12:30:02.174" v="0"/>
        <pc:sldMkLst>
          <pc:docMk/>
          <pc:sldMk cId="3526514887" sldId="2147470624"/>
        </pc:sldMkLst>
      </pc:sldChg>
      <pc:sldChg chg="addSp delSp modSp new mod chgLayout">
        <pc:chgData name="Dwayne Natwick" userId="d11f0013982d5c78" providerId="LiveId" clId="{7C12B80F-4F5C-4C3B-86BC-48E3B79C03DA}" dt="2023-09-15T12:30:56.786" v="14" actId="20577"/>
        <pc:sldMkLst>
          <pc:docMk/>
          <pc:sldMk cId="792240508" sldId="2147470625"/>
        </pc:sldMkLst>
        <pc:spChg chg="del">
          <ac:chgData name="Dwayne Natwick" userId="d11f0013982d5c78" providerId="LiveId" clId="{7C12B80F-4F5C-4C3B-86BC-48E3B79C03DA}" dt="2023-09-15T12:30:41.369" v="3" actId="700"/>
          <ac:spMkLst>
            <pc:docMk/>
            <pc:sldMk cId="792240508" sldId="2147470625"/>
            <ac:spMk id="2" creationId="{A387FD00-9C50-48F3-B9C1-1E1D81C0773F}"/>
          </ac:spMkLst>
        </pc:spChg>
        <pc:spChg chg="add del mod ord">
          <ac:chgData name="Dwayne Natwick" userId="d11f0013982d5c78" providerId="LiveId" clId="{7C12B80F-4F5C-4C3B-86BC-48E3B79C03DA}" dt="2023-09-15T12:30:49.016" v="4" actId="700"/>
          <ac:spMkLst>
            <pc:docMk/>
            <pc:sldMk cId="792240508" sldId="2147470625"/>
            <ac:spMk id="3" creationId="{BEDF4C71-A471-4AB3-BBD3-2A94340FF41B}"/>
          </ac:spMkLst>
        </pc:spChg>
        <pc:spChg chg="add mod ord">
          <ac:chgData name="Dwayne Natwick" userId="d11f0013982d5c78" providerId="LiveId" clId="{7C12B80F-4F5C-4C3B-86BC-48E3B79C03DA}" dt="2023-09-15T12:30:56.786" v="14" actId="20577"/>
          <ac:spMkLst>
            <pc:docMk/>
            <pc:sldMk cId="792240508" sldId="2147470625"/>
            <ac:spMk id="4" creationId="{49D9F342-393A-4EEC-ACDC-769401575698}"/>
          </ac:spMkLst>
        </pc:spChg>
        <pc:spChg chg="add mod ord">
          <ac:chgData name="Dwayne Natwick" userId="d11f0013982d5c78" providerId="LiveId" clId="{7C12B80F-4F5C-4C3B-86BC-48E3B79C03DA}" dt="2023-09-15T12:30:49.016" v="4" actId="700"/>
          <ac:spMkLst>
            <pc:docMk/>
            <pc:sldMk cId="792240508" sldId="2147470625"/>
            <ac:spMk id="5" creationId="{023E8919-57F9-43F7-9C69-EDABB71D9508}"/>
          </ac:spMkLst>
        </pc:spChg>
      </pc:sldChg>
    </pc:docChg>
  </pc:docChgLst>
  <pc:docChgLst>
    <pc:chgData name="Dwayne Natwick" userId="d11f0013982d5c78" providerId="Windows Live" clId="Web-{AF7E15B6-46DF-4A93-812A-0A1DF0046D2D}"/>
    <pc:docChg chg="addSld modSld">
      <pc:chgData name="Dwayne Natwick" userId="d11f0013982d5c78" providerId="Windows Live" clId="Web-{AF7E15B6-46DF-4A93-812A-0A1DF0046D2D}" dt="2023-09-12T18:38:10.080" v="1790" actId="20577"/>
      <pc:docMkLst>
        <pc:docMk/>
      </pc:docMkLst>
      <pc:sldChg chg="addSp delSp modSp">
        <pc:chgData name="Dwayne Natwick" userId="d11f0013982d5c78" providerId="Windows Live" clId="Web-{AF7E15B6-46DF-4A93-812A-0A1DF0046D2D}" dt="2023-09-12T17:52:14.169" v="195"/>
        <pc:sldMkLst>
          <pc:docMk/>
          <pc:sldMk cId="948136224" sldId="2147470573"/>
        </pc:sldMkLst>
        <pc:spChg chg="mod">
          <ac:chgData name="Dwayne Natwick" userId="d11f0013982d5c78" providerId="Windows Live" clId="Web-{AF7E15B6-46DF-4A93-812A-0A1DF0046D2D}" dt="2023-09-12T17:52:14.169" v="195"/>
          <ac:spMkLst>
            <pc:docMk/>
            <pc:sldMk cId="948136224" sldId="2147470573"/>
            <ac:spMk id="2" creationId="{9818A146-7202-24EA-7B4D-99C422D5DB3F}"/>
          </ac:spMkLst>
        </pc:spChg>
        <pc:spChg chg="add del">
          <ac:chgData name="Dwayne Natwick" userId="d11f0013982d5c78" providerId="Windows Live" clId="Web-{AF7E15B6-46DF-4A93-812A-0A1DF0046D2D}" dt="2023-09-12T17:52:14.169" v="195"/>
          <ac:spMkLst>
            <pc:docMk/>
            <pc:sldMk cId="948136224" sldId="2147470573"/>
            <ac:spMk id="3" creationId="{8810F879-0D52-6206-A283-CE7E0B7E3C5D}"/>
          </ac:spMkLst>
        </pc:spChg>
        <pc:graphicFrameChg chg="add del">
          <ac:chgData name="Dwayne Natwick" userId="d11f0013982d5c78" providerId="Windows Live" clId="Web-{AF7E15B6-46DF-4A93-812A-0A1DF0046D2D}" dt="2023-09-12T17:52:14.169" v="195"/>
          <ac:graphicFrameMkLst>
            <pc:docMk/>
            <pc:sldMk cId="948136224" sldId="2147470573"/>
            <ac:graphicFrameMk id="5" creationId="{74EA27C1-16C1-E423-0D71-02DB967DB000}"/>
          </ac:graphicFrameMkLst>
        </pc:graphicFrameChg>
      </pc:sldChg>
      <pc:sldChg chg="addSp delSp modSp">
        <pc:chgData name="Dwayne Natwick" userId="d11f0013982d5c78" providerId="Windows Live" clId="Web-{AF7E15B6-46DF-4A93-812A-0A1DF0046D2D}" dt="2023-09-12T17:54:43.815" v="312" actId="20577"/>
        <pc:sldMkLst>
          <pc:docMk/>
          <pc:sldMk cId="2030514790" sldId="2147470574"/>
        </pc:sldMkLst>
        <pc:spChg chg="mod">
          <ac:chgData name="Dwayne Natwick" userId="d11f0013982d5c78" providerId="Windows Live" clId="Web-{AF7E15B6-46DF-4A93-812A-0A1DF0046D2D}" dt="2023-09-12T17:52:47.764" v="197"/>
          <ac:spMkLst>
            <pc:docMk/>
            <pc:sldMk cId="2030514790" sldId="2147470574"/>
            <ac:spMk id="2" creationId="{9818A146-7202-24EA-7B4D-99C422D5DB3F}"/>
          </ac:spMkLst>
        </pc:spChg>
        <pc:spChg chg="del">
          <ac:chgData name="Dwayne Natwick" userId="d11f0013982d5c78" providerId="Windows Live" clId="Web-{AF7E15B6-46DF-4A93-812A-0A1DF0046D2D}" dt="2023-09-12T17:52:47.764" v="197"/>
          <ac:spMkLst>
            <pc:docMk/>
            <pc:sldMk cId="2030514790" sldId="2147470574"/>
            <ac:spMk id="3" creationId="{8810F879-0D52-6206-A283-CE7E0B7E3C5D}"/>
          </ac:spMkLst>
        </pc:spChg>
        <pc:graphicFrameChg chg="add modGraphic">
          <ac:chgData name="Dwayne Natwick" userId="d11f0013982d5c78" providerId="Windows Live" clId="Web-{AF7E15B6-46DF-4A93-812A-0A1DF0046D2D}" dt="2023-09-12T17:54:43.815" v="312" actId="20577"/>
          <ac:graphicFrameMkLst>
            <pc:docMk/>
            <pc:sldMk cId="2030514790" sldId="2147470574"/>
            <ac:graphicFrameMk id="5" creationId="{10573158-EC09-2CD0-C66A-15179B89CFF1}"/>
          </ac:graphicFrameMkLst>
        </pc:graphicFrameChg>
      </pc:sldChg>
      <pc:sldChg chg="addSp delSp modSp mod modClrScheme chgLayout modNotes">
        <pc:chgData name="Dwayne Natwick" userId="d11f0013982d5c78" providerId="Windows Live" clId="Web-{AF7E15B6-46DF-4A93-812A-0A1DF0046D2D}" dt="2023-09-12T17:56:30.350" v="313" actId="20577"/>
        <pc:sldMkLst>
          <pc:docMk/>
          <pc:sldMk cId="3649936595" sldId="2147470575"/>
        </pc:sldMkLst>
        <pc:spChg chg="mod">
          <ac:chgData name="Dwayne Natwick" userId="d11f0013982d5c78" providerId="Windows Live" clId="Web-{AF7E15B6-46DF-4A93-812A-0A1DF0046D2D}" dt="2023-09-12T17:56:30.350" v="313" actId="20577"/>
          <ac:spMkLst>
            <pc:docMk/>
            <pc:sldMk cId="3649936595" sldId="2147470575"/>
            <ac:spMk id="2" creationId="{8839F5C4-843E-DBAD-044B-1872C9832914}"/>
          </ac:spMkLst>
        </pc:spChg>
        <pc:spChg chg="del">
          <ac:chgData name="Dwayne Natwick" userId="d11f0013982d5c78" providerId="Windows Live" clId="Web-{AF7E15B6-46DF-4A93-812A-0A1DF0046D2D}" dt="2023-09-12T17:43:10.963" v="41"/>
          <ac:spMkLst>
            <pc:docMk/>
            <pc:sldMk cId="3649936595" sldId="2147470575"/>
            <ac:spMk id="3" creationId="{D7C5290E-4AF6-FD1E-F18C-F93AC87A023D}"/>
          </ac:spMkLst>
        </pc:spChg>
        <pc:spChg chg="add del mod">
          <ac:chgData name="Dwayne Natwick" userId="d11f0013982d5c78" providerId="Windows Live" clId="Web-{AF7E15B6-46DF-4A93-812A-0A1DF0046D2D}" dt="2023-09-12T17:45:37.108" v="102"/>
          <ac:spMkLst>
            <pc:docMk/>
            <pc:sldMk cId="3649936595" sldId="2147470575"/>
            <ac:spMk id="5" creationId="{78BFA28B-62B5-EC5D-171F-3F26EBE6B106}"/>
          </ac:spMkLst>
        </pc:spChg>
        <pc:spChg chg="add mod">
          <ac:chgData name="Dwayne Natwick" userId="d11f0013982d5c78" providerId="Windows Live" clId="Web-{AF7E15B6-46DF-4A93-812A-0A1DF0046D2D}" dt="2023-09-12T17:44:20.840" v="94" actId="20577"/>
          <ac:spMkLst>
            <pc:docMk/>
            <pc:sldMk cId="3649936595" sldId="2147470575"/>
            <ac:spMk id="9" creationId="{7239C8F0-B9DF-87A5-21C6-7F2244DB4517}"/>
          </ac:spMkLst>
        </pc:spChg>
        <pc:picChg chg="add mod ord">
          <ac:chgData name="Dwayne Natwick" userId="d11f0013982d5c78" providerId="Windows Live" clId="Web-{AF7E15B6-46DF-4A93-812A-0A1DF0046D2D}" dt="2023-09-12T17:43:13.963" v="42"/>
          <ac:picMkLst>
            <pc:docMk/>
            <pc:sldMk cId="3649936595" sldId="2147470575"/>
            <ac:picMk id="4" creationId="{5AF45389-AE37-8E5F-A9DE-5C05DCB87D6A}"/>
          </ac:picMkLst>
        </pc:picChg>
      </pc:sldChg>
      <pc:sldChg chg="addSp delSp modSp">
        <pc:chgData name="Dwayne Natwick" userId="d11f0013982d5c78" providerId="Windows Live" clId="Web-{AF7E15B6-46DF-4A93-812A-0A1DF0046D2D}" dt="2023-09-12T18:34:26.525" v="1760"/>
        <pc:sldMkLst>
          <pc:docMk/>
          <pc:sldMk cId="511214272" sldId="2147470576"/>
        </pc:sldMkLst>
        <pc:spChg chg="mod">
          <ac:chgData name="Dwayne Natwick" userId="d11f0013982d5c78" providerId="Windows Live" clId="Web-{AF7E15B6-46DF-4A93-812A-0A1DF0046D2D}" dt="2023-09-12T18:34:26.525" v="1760"/>
          <ac:spMkLst>
            <pc:docMk/>
            <pc:sldMk cId="511214272" sldId="2147470576"/>
            <ac:spMk id="2" creationId="{9991B069-6AF3-7B68-6726-099657220172}"/>
          </ac:spMkLst>
        </pc:spChg>
        <pc:spChg chg="del mod">
          <ac:chgData name="Dwayne Natwick" userId="d11f0013982d5c78" providerId="Windows Live" clId="Web-{AF7E15B6-46DF-4A93-812A-0A1DF0046D2D}" dt="2023-09-12T18:34:26.525" v="1760"/>
          <ac:spMkLst>
            <pc:docMk/>
            <pc:sldMk cId="511214272" sldId="2147470576"/>
            <ac:spMk id="3" creationId="{E503C6BB-C045-5A5C-DF84-C31BBF5E922A}"/>
          </ac:spMkLst>
        </pc:spChg>
        <pc:graphicFrameChg chg="add">
          <ac:chgData name="Dwayne Natwick" userId="d11f0013982d5c78" providerId="Windows Live" clId="Web-{AF7E15B6-46DF-4A93-812A-0A1DF0046D2D}" dt="2023-09-12T18:34:26.525" v="1760"/>
          <ac:graphicFrameMkLst>
            <pc:docMk/>
            <pc:sldMk cId="511214272" sldId="2147470576"/>
            <ac:graphicFrameMk id="5" creationId="{0F261073-2BAD-D61A-DB99-49C156412A8F}"/>
          </ac:graphicFrameMkLst>
        </pc:graphicFrameChg>
      </pc:sldChg>
      <pc:sldChg chg="modSp">
        <pc:chgData name="Dwayne Natwick" userId="d11f0013982d5c78" providerId="Windows Live" clId="Web-{AF7E15B6-46DF-4A93-812A-0A1DF0046D2D}" dt="2023-09-12T18:12:16.978" v="847" actId="20577"/>
        <pc:sldMkLst>
          <pc:docMk/>
          <pc:sldMk cId="4196600117" sldId="2147470577"/>
        </pc:sldMkLst>
        <pc:spChg chg="mod">
          <ac:chgData name="Dwayne Natwick" userId="d11f0013982d5c78" providerId="Windows Live" clId="Web-{AF7E15B6-46DF-4A93-812A-0A1DF0046D2D}" dt="2023-09-12T18:12:16.978" v="847" actId="20577"/>
          <ac:spMkLst>
            <pc:docMk/>
            <pc:sldMk cId="4196600117" sldId="2147470577"/>
            <ac:spMk id="3" creationId="{6EC7CC27-14D6-DF5B-9E38-E7E4DDE94B23}"/>
          </ac:spMkLst>
        </pc:spChg>
      </pc:sldChg>
      <pc:sldChg chg="mod modShow">
        <pc:chgData name="Dwayne Natwick" userId="d11f0013982d5c78" providerId="Windows Live" clId="Web-{AF7E15B6-46DF-4A93-812A-0A1DF0046D2D}" dt="2023-09-12T18:35:29.121" v="1761"/>
        <pc:sldMkLst>
          <pc:docMk/>
          <pc:sldMk cId="1593797140" sldId="2147470578"/>
        </pc:sldMkLst>
      </pc:sldChg>
      <pc:sldChg chg="addSp delSp modSp modNotes">
        <pc:chgData name="Dwayne Natwick" userId="d11f0013982d5c78" providerId="Windows Live" clId="Web-{AF7E15B6-46DF-4A93-812A-0A1DF0046D2D}" dt="2023-09-12T18:33:59.696" v="1757"/>
        <pc:sldMkLst>
          <pc:docMk/>
          <pc:sldMk cId="90178162" sldId="2147470579"/>
        </pc:sldMkLst>
        <pc:spChg chg="mod">
          <ac:chgData name="Dwayne Natwick" userId="d11f0013982d5c78" providerId="Windows Live" clId="Web-{AF7E15B6-46DF-4A93-812A-0A1DF0046D2D}" dt="2023-09-12T18:33:59.696" v="1757"/>
          <ac:spMkLst>
            <pc:docMk/>
            <pc:sldMk cId="90178162" sldId="2147470579"/>
            <ac:spMk id="2" creationId="{CCEE8F8E-8AB3-8B85-39AE-98837F46EC4B}"/>
          </ac:spMkLst>
        </pc:spChg>
        <pc:spChg chg="del mod">
          <ac:chgData name="Dwayne Natwick" userId="d11f0013982d5c78" providerId="Windows Live" clId="Web-{AF7E15B6-46DF-4A93-812A-0A1DF0046D2D}" dt="2023-09-12T18:33:59.696" v="1757"/>
          <ac:spMkLst>
            <pc:docMk/>
            <pc:sldMk cId="90178162" sldId="2147470579"/>
            <ac:spMk id="3" creationId="{B4AFBDF2-1F1B-3769-88CB-72B517B271D8}"/>
          </ac:spMkLst>
        </pc:spChg>
        <pc:graphicFrameChg chg="add">
          <ac:chgData name="Dwayne Natwick" userId="d11f0013982d5c78" providerId="Windows Live" clId="Web-{AF7E15B6-46DF-4A93-812A-0A1DF0046D2D}" dt="2023-09-12T18:33:59.696" v="1757"/>
          <ac:graphicFrameMkLst>
            <pc:docMk/>
            <pc:sldMk cId="90178162" sldId="2147470579"/>
            <ac:graphicFrameMk id="5" creationId="{7C56FF18-D543-A9E2-E639-54200B4A4673}"/>
          </ac:graphicFrameMkLst>
        </pc:graphicFrameChg>
      </pc:sldChg>
      <pc:sldChg chg="addSp delSp modSp mod modClrScheme chgLayout modNotes">
        <pc:chgData name="Dwayne Natwick" userId="d11f0013982d5c78" providerId="Windows Live" clId="Web-{AF7E15B6-46DF-4A93-812A-0A1DF0046D2D}" dt="2023-09-12T18:33:36.320" v="1756" actId="1076"/>
        <pc:sldMkLst>
          <pc:docMk/>
          <pc:sldMk cId="1437570267" sldId="2147470580"/>
        </pc:sldMkLst>
        <pc:spChg chg="mod">
          <ac:chgData name="Dwayne Natwick" userId="d11f0013982d5c78" providerId="Windows Live" clId="Web-{AF7E15B6-46DF-4A93-812A-0A1DF0046D2D}" dt="2023-09-12T18:33:00.990" v="1752"/>
          <ac:spMkLst>
            <pc:docMk/>
            <pc:sldMk cId="1437570267" sldId="2147470580"/>
            <ac:spMk id="2" creationId="{7B3A1FEB-4EBD-088C-B102-3A5E0A53F311}"/>
          </ac:spMkLst>
        </pc:spChg>
        <pc:spChg chg="add del mod">
          <ac:chgData name="Dwayne Natwick" userId="d11f0013982d5c78" providerId="Windows Live" clId="Web-{AF7E15B6-46DF-4A93-812A-0A1DF0046D2D}" dt="2023-09-12T18:33:00.990" v="1752"/>
          <ac:spMkLst>
            <pc:docMk/>
            <pc:sldMk cId="1437570267" sldId="2147470580"/>
            <ac:spMk id="3" creationId="{D24D1DD1-5F2D-D573-D7AB-BF9E297CC679}"/>
          </ac:spMkLst>
        </pc:spChg>
        <pc:spChg chg="add del mod">
          <ac:chgData name="Dwayne Natwick" userId="d11f0013982d5c78" providerId="Windows Live" clId="Web-{AF7E15B6-46DF-4A93-812A-0A1DF0046D2D}" dt="2023-09-12T18:32:51.303" v="1749"/>
          <ac:spMkLst>
            <pc:docMk/>
            <pc:sldMk cId="1437570267" sldId="2147470580"/>
            <ac:spMk id="4" creationId="{DE6B17E4-67EE-9781-0DC2-865FF8020352}"/>
          </ac:spMkLst>
        </pc:spChg>
        <pc:spChg chg="add del mod">
          <ac:chgData name="Dwayne Natwick" userId="d11f0013982d5c78" providerId="Windows Live" clId="Web-{AF7E15B6-46DF-4A93-812A-0A1DF0046D2D}" dt="2023-09-12T18:33:15.397" v="1753"/>
          <ac:spMkLst>
            <pc:docMk/>
            <pc:sldMk cId="1437570267" sldId="2147470580"/>
            <ac:spMk id="9" creationId="{E306C77C-B2C7-DC01-7C50-7BA78A96881A}"/>
          </ac:spMkLst>
        </pc:spChg>
        <pc:graphicFrameChg chg="add del">
          <ac:chgData name="Dwayne Natwick" userId="d11f0013982d5c78" providerId="Windows Live" clId="Web-{AF7E15B6-46DF-4A93-812A-0A1DF0046D2D}" dt="2023-09-12T18:33:00.944" v="1751"/>
          <ac:graphicFrameMkLst>
            <pc:docMk/>
            <pc:sldMk cId="1437570267" sldId="2147470580"/>
            <ac:graphicFrameMk id="5" creationId="{4229AB85-D51F-B2A0-1FEA-6734A0BFF771}"/>
          </ac:graphicFrameMkLst>
        </pc:graphicFrameChg>
        <pc:graphicFrameChg chg="add mod">
          <ac:chgData name="Dwayne Natwick" userId="d11f0013982d5c78" providerId="Windows Live" clId="Web-{AF7E15B6-46DF-4A93-812A-0A1DF0046D2D}" dt="2023-09-12T18:33:36.320" v="1756" actId="1076"/>
          <ac:graphicFrameMkLst>
            <pc:docMk/>
            <pc:sldMk cId="1437570267" sldId="2147470580"/>
            <ac:graphicFrameMk id="7" creationId="{3A80CE1E-78CC-6677-9E1F-AD6A51F41468}"/>
          </ac:graphicFrameMkLst>
        </pc:graphicFrameChg>
      </pc:sldChg>
      <pc:sldChg chg="mod modShow">
        <pc:chgData name="Dwayne Natwick" userId="d11f0013982d5c78" providerId="Windows Live" clId="Web-{AF7E15B6-46DF-4A93-812A-0A1DF0046D2D}" dt="2023-09-12T18:35:31.808" v="1762"/>
        <pc:sldMkLst>
          <pc:docMk/>
          <pc:sldMk cId="1083283128" sldId="2147470581"/>
        </pc:sldMkLst>
      </pc:sldChg>
      <pc:sldChg chg="modSp">
        <pc:chgData name="Dwayne Natwick" userId="d11f0013982d5c78" providerId="Windows Live" clId="Web-{AF7E15B6-46DF-4A93-812A-0A1DF0046D2D}" dt="2023-09-12T18:16:15.627" v="1036" actId="20577"/>
        <pc:sldMkLst>
          <pc:docMk/>
          <pc:sldMk cId="3763189814" sldId="2147470582"/>
        </pc:sldMkLst>
        <pc:spChg chg="mod">
          <ac:chgData name="Dwayne Natwick" userId="d11f0013982d5c78" providerId="Windows Live" clId="Web-{AF7E15B6-46DF-4A93-812A-0A1DF0046D2D}" dt="2023-09-12T18:16:15.627" v="1036" actId="20577"/>
          <ac:spMkLst>
            <pc:docMk/>
            <pc:sldMk cId="3763189814" sldId="2147470582"/>
            <ac:spMk id="3" creationId="{23A1A54E-6325-B210-02CE-A6FEE92CB668}"/>
          </ac:spMkLst>
        </pc:spChg>
      </pc:sldChg>
      <pc:sldChg chg="addSp delSp modSp mod modClrScheme chgLayout">
        <pc:chgData name="Dwayne Natwick" userId="d11f0013982d5c78" providerId="Windows Live" clId="Web-{AF7E15B6-46DF-4A93-812A-0A1DF0046D2D}" dt="2023-09-12T17:48:54.725" v="175"/>
        <pc:sldMkLst>
          <pc:docMk/>
          <pc:sldMk cId="3861986293" sldId="2147470583"/>
        </pc:sldMkLst>
        <pc:spChg chg="add del">
          <ac:chgData name="Dwayne Natwick" userId="d11f0013982d5c78" providerId="Windows Live" clId="Web-{AF7E15B6-46DF-4A93-812A-0A1DF0046D2D}" dt="2023-09-12T17:48:54.725" v="175"/>
          <ac:spMkLst>
            <pc:docMk/>
            <pc:sldMk cId="3861986293" sldId="2147470583"/>
            <ac:spMk id="2" creationId="{00347D79-9563-C73D-94EA-97CC3742AEAE}"/>
          </ac:spMkLst>
        </pc:spChg>
        <pc:spChg chg="mod ord">
          <ac:chgData name="Dwayne Natwick" userId="d11f0013982d5c78" providerId="Windows Live" clId="Web-{AF7E15B6-46DF-4A93-812A-0A1DF0046D2D}" dt="2023-09-12T17:48:54.725" v="175"/>
          <ac:spMkLst>
            <pc:docMk/>
            <pc:sldMk cId="3861986293" sldId="2147470583"/>
            <ac:spMk id="3" creationId="{B292C898-D7C5-5588-2756-41BF32174685}"/>
          </ac:spMkLst>
        </pc:spChg>
        <pc:spChg chg="add mod">
          <ac:chgData name="Dwayne Natwick" userId="d11f0013982d5c78" providerId="Windows Live" clId="Web-{AF7E15B6-46DF-4A93-812A-0A1DF0046D2D}" dt="2023-09-12T17:48:54.725" v="175"/>
          <ac:spMkLst>
            <pc:docMk/>
            <pc:sldMk cId="3861986293" sldId="2147470583"/>
            <ac:spMk id="4" creationId="{B269E640-ABA6-E084-C63A-7A1C976F25BF}"/>
          </ac:spMkLst>
        </pc:spChg>
        <pc:spChg chg="add del mod">
          <ac:chgData name="Dwayne Natwick" userId="d11f0013982d5c78" providerId="Windows Live" clId="Web-{AF7E15B6-46DF-4A93-812A-0A1DF0046D2D}" dt="2023-09-12T17:48:48.146" v="174"/>
          <ac:spMkLst>
            <pc:docMk/>
            <pc:sldMk cId="3861986293" sldId="2147470583"/>
            <ac:spMk id="10" creationId="{35A97FBC-4174-28FF-5A5B-47F58791B92E}"/>
          </ac:spMkLst>
        </pc:spChg>
        <pc:spChg chg="add del mod">
          <ac:chgData name="Dwayne Natwick" userId="d11f0013982d5c78" providerId="Windows Live" clId="Web-{AF7E15B6-46DF-4A93-812A-0A1DF0046D2D}" dt="2023-09-12T17:48:48.146" v="174"/>
          <ac:spMkLst>
            <pc:docMk/>
            <pc:sldMk cId="3861986293" sldId="2147470583"/>
            <ac:spMk id="12" creationId="{0D85D726-A650-C65F-9E5A-ECAC33271771}"/>
          </ac:spMkLst>
        </pc:spChg>
        <pc:picChg chg="add mod">
          <ac:chgData name="Dwayne Natwick" userId="d11f0013982d5c78" providerId="Windows Live" clId="Web-{AF7E15B6-46DF-4A93-812A-0A1DF0046D2D}" dt="2023-09-12T17:48:54.725" v="175"/>
          <ac:picMkLst>
            <pc:docMk/>
            <pc:sldMk cId="3861986293" sldId="2147470583"/>
            <ac:picMk id="5" creationId="{765FAD07-A030-38A5-FD92-FC1A4D70F233}"/>
          </ac:picMkLst>
        </pc:picChg>
      </pc:sldChg>
      <pc:sldChg chg="addSp delSp modSp">
        <pc:chgData name="Dwayne Natwick" userId="d11f0013982d5c78" providerId="Windows Live" clId="Web-{AF7E15B6-46DF-4A93-812A-0A1DF0046D2D}" dt="2023-09-12T17:52:20.592" v="196"/>
        <pc:sldMkLst>
          <pc:docMk/>
          <pc:sldMk cId="3386646133" sldId="2147470584"/>
        </pc:sldMkLst>
        <pc:spChg chg="mod">
          <ac:chgData name="Dwayne Natwick" userId="d11f0013982d5c78" providerId="Windows Live" clId="Web-{AF7E15B6-46DF-4A93-812A-0A1DF0046D2D}" dt="2023-09-12T17:52:20.592" v="196"/>
          <ac:spMkLst>
            <pc:docMk/>
            <pc:sldMk cId="3386646133" sldId="2147470584"/>
            <ac:spMk id="2" creationId="{9818A146-7202-24EA-7B4D-99C422D5DB3F}"/>
          </ac:spMkLst>
        </pc:spChg>
        <pc:spChg chg="del">
          <ac:chgData name="Dwayne Natwick" userId="d11f0013982d5c78" providerId="Windows Live" clId="Web-{AF7E15B6-46DF-4A93-812A-0A1DF0046D2D}" dt="2023-09-12T17:52:20.592" v="196"/>
          <ac:spMkLst>
            <pc:docMk/>
            <pc:sldMk cId="3386646133" sldId="2147470584"/>
            <ac:spMk id="3" creationId="{8810F879-0D52-6206-A283-CE7E0B7E3C5D}"/>
          </ac:spMkLst>
        </pc:spChg>
        <pc:graphicFrameChg chg="add">
          <ac:chgData name="Dwayne Natwick" userId="d11f0013982d5c78" providerId="Windows Live" clId="Web-{AF7E15B6-46DF-4A93-812A-0A1DF0046D2D}" dt="2023-09-12T17:52:20.592" v="196"/>
          <ac:graphicFrameMkLst>
            <pc:docMk/>
            <pc:sldMk cId="3386646133" sldId="2147470584"/>
            <ac:graphicFrameMk id="5" creationId="{EF3B220F-990E-7A66-65F2-43D2A570A232}"/>
          </ac:graphicFrameMkLst>
        </pc:graphicFrameChg>
      </pc:sldChg>
      <pc:sldChg chg="addSp delSp modSp mod modClrScheme chgLayout">
        <pc:chgData name="Dwayne Natwick" userId="d11f0013982d5c78" providerId="Windows Live" clId="Web-{AF7E15B6-46DF-4A93-812A-0A1DF0046D2D}" dt="2023-09-12T17:50:20.369" v="183"/>
        <pc:sldMkLst>
          <pc:docMk/>
          <pc:sldMk cId="347590927" sldId="2147470587"/>
        </pc:sldMkLst>
        <pc:spChg chg="mod">
          <ac:chgData name="Dwayne Natwick" userId="d11f0013982d5c78" providerId="Windows Live" clId="Web-{AF7E15B6-46DF-4A93-812A-0A1DF0046D2D}" dt="2023-09-12T17:50:20.369" v="183"/>
          <ac:spMkLst>
            <pc:docMk/>
            <pc:sldMk cId="347590927" sldId="2147470587"/>
            <ac:spMk id="2" creationId="{49ED4149-7D80-DC24-D85C-E8F8E2138C6D}"/>
          </ac:spMkLst>
        </pc:spChg>
        <pc:spChg chg="del">
          <ac:chgData name="Dwayne Natwick" userId="d11f0013982d5c78" providerId="Windows Live" clId="Web-{AF7E15B6-46DF-4A93-812A-0A1DF0046D2D}" dt="2023-09-12T17:50:02.602" v="180"/>
          <ac:spMkLst>
            <pc:docMk/>
            <pc:sldMk cId="347590927" sldId="2147470587"/>
            <ac:spMk id="3" creationId="{9262B5ED-8454-F1E3-0143-C89092EF7A91}"/>
          </ac:spMkLst>
        </pc:spChg>
        <pc:spChg chg="add del mod">
          <ac:chgData name="Dwayne Natwick" userId="d11f0013982d5c78" providerId="Windows Live" clId="Web-{AF7E15B6-46DF-4A93-812A-0A1DF0046D2D}" dt="2023-09-12T17:50:16.243" v="182"/>
          <ac:spMkLst>
            <pc:docMk/>
            <pc:sldMk cId="347590927" sldId="2147470587"/>
            <ac:spMk id="9" creationId="{A90EEB16-96DE-5D64-BB2D-E00F6BD83330}"/>
          </ac:spMkLst>
        </pc:spChg>
        <pc:graphicFrameChg chg="add mod modGraphic">
          <ac:chgData name="Dwayne Natwick" userId="d11f0013982d5c78" providerId="Windows Live" clId="Web-{AF7E15B6-46DF-4A93-812A-0A1DF0046D2D}" dt="2023-09-12T17:50:20.369" v="183"/>
          <ac:graphicFrameMkLst>
            <pc:docMk/>
            <pc:sldMk cId="347590927" sldId="2147470587"/>
            <ac:graphicFrameMk id="5" creationId="{F1C54563-A4E7-4C95-AE2A-C0580B3CA81E}"/>
          </ac:graphicFrameMkLst>
        </pc:graphicFrameChg>
      </pc:sldChg>
      <pc:sldChg chg="addSp delSp modSp mod modClrScheme chgLayout">
        <pc:chgData name="Dwayne Natwick" userId="d11f0013982d5c78" providerId="Windows Live" clId="Web-{AF7E15B6-46DF-4A93-812A-0A1DF0046D2D}" dt="2023-09-12T17:50:48.432" v="186"/>
        <pc:sldMkLst>
          <pc:docMk/>
          <pc:sldMk cId="2214484181" sldId="2147470588"/>
        </pc:sldMkLst>
        <pc:spChg chg="mod">
          <ac:chgData name="Dwayne Natwick" userId="d11f0013982d5c78" providerId="Windows Live" clId="Web-{AF7E15B6-46DF-4A93-812A-0A1DF0046D2D}" dt="2023-09-12T17:50:48.432" v="186"/>
          <ac:spMkLst>
            <pc:docMk/>
            <pc:sldMk cId="2214484181" sldId="2147470588"/>
            <ac:spMk id="2" creationId="{49ED4149-7D80-DC24-D85C-E8F8E2138C6D}"/>
          </ac:spMkLst>
        </pc:spChg>
        <pc:spChg chg="del">
          <ac:chgData name="Dwayne Natwick" userId="d11f0013982d5c78" providerId="Windows Live" clId="Web-{AF7E15B6-46DF-4A93-812A-0A1DF0046D2D}" dt="2023-09-12T17:49:39.164" v="178"/>
          <ac:spMkLst>
            <pc:docMk/>
            <pc:sldMk cId="2214484181" sldId="2147470588"/>
            <ac:spMk id="3" creationId="{9262B5ED-8454-F1E3-0143-C89092EF7A91}"/>
          </ac:spMkLst>
        </pc:spChg>
        <pc:spChg chg="add del mod">
          <ac:chgData name="Dwayne Natwick" userId="d11f0013982d5c78" providerId="Windows Live" clId="Web-{AF7E15B6-46DF-4A93-812A-0A1DF0046D2D}" dt="2023-09-12T17:50:44.760" v="185"/>
          <ac:spMkLst>
            <pc:docMk/>
            <pc:sldMk cId="2214484181" sldId="2147470588"/>
            <ac:spMk id="10" creationId="{B963B13C-222A-ADA7-ED28-1E1E4B6B9A4E}"/>
          </ac:spMkLst>
        </pc:spChg>
        <pc:graphicFrameChg chg="add mod modGraphic">
          <ac:chgData name="Dwayne Natwick" userId="d11f0013982d5c78" providerId="Windows Live" clId="Web-{AF7E15B6-46DF-4A93-812A-0A1DF0046D2D}" dt="2023-09-12T17:50:48.432" v="186"/>
          <ac:graphicFrameMkLst>
            <pc:docMk/>
            <pc:sldMk cId="2214484181" sldId="2147470588"/>
            <ac:graphicFrameMk id="5" creationId="{F0FC495E-D653-EBE3-078E-A8B68A55A8FA}"/>
          </ac:graphicFrameMkLst>
        </pc:graphicFrameChg>
      </pc:sldChg>
      <pc:sldChg chg="addSp delSp modSp">
        <pc:chgData name="Dwayne Natwick" userId="d11f0013982d5c78" providerId="Windows Live" clId="Web-{AF7E15B6-46DF-4A93-812A-0A1DF0046D2D}" dt="2023-09-12T17:50:07.790" v="181"/>
        <pc:sldMkLst>
          <pc:docMk/>
          <pc:sldMk cId="3716502182" sldId="2147470589"/>
        </pc:sldMkLst>
        <pc:spChg chg="mod">
          <ac:chgData name="Dwayne Natwick" userId="d11f0013982d5c78" providerId="Windows Live" clId="Web-{AF7E15B6-46DF-4A93-812A-0A1DF0046D2D}" dt="2023-09-12T17:49:30.820" v="177"/>
          <ac:spMkLst>
            <pc:docMk/>
            <pc:sldMk cId="3716502182" sldId="2147470589"/>
            <ac:spMk id="2" creationId="{49ED4149-7D80-DC24-D85C-E8F8E2138C6D}"/>
          </ac:spMkLst>
        </pc:spChg>
        <pc:spChg chg="del">
          <ac:chgData name="Dwayne Natwick" userId="d11f0013982d5c78" providerId="Windows Live" clId="Web-{AF7E15B6-46DF-4A93-812A-0A1DF0046D2D}" dt="2023-09-12T17:49:30.820" v="177"/>
          <ac:spMkLst>
            <pc:docMk/>
            <pc:sldMk cId="3716502182" sldId="2147470589"/>
            <ac:spMk id="3" creationId="{9262B5ED-8454-F1E3-0143-C89092EF7A91}"/>
          </ac:spMkLst>
        </pc:spChg>
        <pc:graphicFrameChg chg="add mod modGraphic">
          <ac:chgData name="Dwayne Natwick" userId="d11f0013982d5c78" providerId="Windows Live" clId="Web-{AF7E15B6-46DF-4A93-812A-0A1DF0046D2D}" dt="2023-09-12T17:50:07.790" v="181"/>
          <ac:graphicFrameMkLst>
            <pc:docMk/>
            <pc:sldMk cId="3716502182" sldId="2147470589"/>
            <ac:graphicFrameMk id="5" creationId="{B7A53284-6647-FE5D-20C3-715E935142A9}"/>
          </ac:graphicFrameMkLst>
        </pc:graphicFrameChg>
      </pc:sldChg>
      <pc:sldChg chg="addSp delSp modSp mod modClrScheme chgLayout">
        <pc:chgData name="Dwayne Natwick" userId="d11f0013982d5c78" providerId="Windows Live" clId="Web-{AF7E15B6-46DF-4A93-812A-0A1DF0046D2D}" dt="2023-09-12T17:51:34.574" v="193"/>
        <pc:sldMkLst>
          <pc:docMk/>
          <pc:sldMk cId="836223342" sldId="2147470590"/>
        </pc:sldMkLst>
        <pc:spChg chg="mod">
          <ac:chgData name="Dwayne Natwick" userId="d11f0013982d5c78" providerId="Windows Live" clId="Web-{AF7E15B6-46DF-4A93-812A-0A1DF0046D2D}" dt="2023-09-12T17:51:34.574" v="193"/>
          <ac:spMkLst>
            <pc:docMk/>
            <pc:sldMk cId="836223342" sldId="2147470590"/>
            <ac:spMk id="2" creationId="{49ED4149-7D80-DC24-D85C-E8F8E2138C6D}"/>
          </ac:spMkLst>
        </pc:spChg>
        <pc:spChg chg="del">
          <ac:chgData name="Dwayne Natwick" userId="d11f0013982d5c78" providerId="Windows Live" clId="Web-{AF7E15B6-46DF-4A93-812A-0A1DF0046D2D}" dt="2023-09-12T17:49:50.899" v="179"/>
          <ac:spMkLst>
            <pc:docMk/>
            <pc:sldMk cId="836223342" sldId="2147470590"/>
            <ac:spMk id="3" creationId="{9262B5ED-8454-F1E3-0143-C89092EF7A91}"/>
          </ac:spMkLst>
        </pc:spChg>
        <pc:spChg chg="add del mod">
          <ac:chgData name="Dwayne Natwick" userId="d11f0013982d5c78" providerId="Windows Live" clId="Web-{AF7E15B6-46DF-4A93-812A-0A1DF0046D2D}" dt="2023-09-12T17:50:57.010" v="188"/>
          <ac:spMkLst>
            <pc:docMk/>
            <pc:sldMk cId="836223342" sldId="2147470590"/>
            <ac:spMk id="10" creationId="{64C022E0-F7BD-8675-1BB9-6813E20D9395}"/>
          </ac:spMkLst>
        </pc:spChg>
        <pc:spChg chg="add del">
          <ac:chgData name="Dwayne Natwick" userId="d11f0013982d5c78" providerId="Windows Live" clId="Web-{AF7E15B6-46DF-4A93-812A-0A1DF0046D2D}" dt="2023-09-12T17:51:27.637" v="192"/>
          <ac:spMkLst>
            <pc:docMk/>
            <pc:sldMk cId="836223342" sldId="2147470590"/>
            <ac:spMk id="11" creationId="{CBAF7AB3-F730-B6AA-729C-BEAC59125432}"/>
          </ac:spMkLst>
        </pc:spChg>
        <pc:graphicFrameChg chg="add del mod modGraphic">
          <ac:chgData name="Dwayne Natwick" userId="d11f0013982d5c78" providerId="Windows Live" clId="Web-{AF7E15B6-46DF-4A93-812A-0A1DF0046D2D}" dt="2023-09-12T17:51:22.699" v="191"/>
          <ac:graphicFrameMkLst>
            <pc:docMk/>
            <pc:sldMk cId="836223342" sldId="2147470590"/>
            <ac:graphicFrameMk id="5" creationId="{82670351-1823-73D9-8F4B-01C9D4CE199E}"/>
          </ac:graphicFrameMkLst>
        </pc:graphicFrameChg>
        <pc:graphicFrameChg chg="add mod">
          <ac:chgData name="Dwayne Natwick" userId="d11f0013982d5c78" providerId="Windows Live" clId="Web-{AF7E15B6-46DF-4A93-812A-0A1DF0046D2D}" dt="2023-09-12T17:51:34.574" v="193"/>
          <ac:graphicFrameMkLst>
            <pc:docMk/>
            <pc:sldMk cId="836223342" sldId="2147470590"/>
            <ac:graphicFrameMk id="7" creationId="{6FB2ABBF-1AE7-AF32-9A14-05415C0B9088}"/>
          </ac:graphicFrameMkLst>
        </pc:graphicFrameChg>
      </pc:sldChg>
      <pc:sldChg chg="delSp modSp new mod modClrScheme chgLayout">
        <pc:chgData name="Dwayne Natwick" userId="d11f0013982d5c78" providerId="Windows Live" clId="Web-{AF7E15B6-46DF-4A93-812A-0A1DF0046D2D}" dt="2023-09-12T17:41:14.662" v="37" actId="20577"/>
        <pc:sldMkLst>
          <pc:docMk/>
          <pc:sldMk cId="823722957" sldId="2147470592"/>
        </pc:sldMkLst>
        <pc:spChg chg="mod ord">
          <ac:chgData name="Dwayne Natwick" userId="d11f0013982d5c78" providerId="Windows Live" clId="Web-{AF7E15B6-46DF-4A93-812A-0A1DF0046D2D}" dt="2023-09-12T17:41:14.662" v="37" actId="20577"/>
          <ac:spMkLst>
            <pc:docMk/>
            <pc:sldMk cId="823722957" sldId="2147470592"/>
            <ac:spMk id="2" creationId="{66E1C2FB-1BCB-1AC0-8E24-2129DA75AB20}"/>
          </ac:spMkLst>
        </pc:spChg>
        <pc:spChg chg="del">
          <ac:chgData name="Dwayne Natwick" userId="d11f0013982d5c78" providerId="Windows Live" clId="Web-{AF7E15B6-46DF-4A93-812A-0A1DF0046D2D}" dt="2023-09-12T16:41:49.235" v="1"/>
          <ac:spMkLst>
            <pc:docMk/>
            <pc:sldMk cId="823722957" sldId="2147470592"/>
            <ac:spMk id="3" creationId="{00BD254C-02C3-AC88-4E9C-A8C09A51EF14}"/>
          </ac:spMkLst>
        </pc:spChg>
      </pc:sldChg>
      <pc:sldChg chg="modSp new mod modClrScheme chgLayout">
        <pc:chgData name="Dwayne Natwick" userId="d11f0013982d5c78" providerId="Windows Live" clId="Web-{AF7E15B6-46DF-4A93-812A-0A1DF0046D2D}" dt="2023-09-12T16:42:55.816" v="27" actId="20577"/>
        <pc:sldMkLst>
          <pc:docMk/>
          <pc:sldMk cId="3948585883" sldId="2147470593"/>
        </pc:sldMkLst>
        <pc:spChg chg="mod ord">
          <ac:chgData name="Dwayne Natwick" userId="d11f0013982d5c78" providerId="Windows Live" clId="Web-{AF7E15B6-46DF-4A93-812A-0A1DF0046D2D}" dt="2023-09-12T16:42:55.816" v="27" actId="20577"/>
          <ac:spMkLst>
            <pc:docMk/>
            <pc:sldMk cId="3948585883" sldId="2147470593"/>
            <ac:spMk id="2" creationId="{87397CD5-183A-B74F-0D26-9D89FF7C3903}"/>
          </ac:spMkLst>
        </pc:spChg>
      </pc:sldChg>
      <pc:sldChg chg="addSp delSp modSp add mod replId modClrScheme chgLayout">
        <pc:chgData name="Dwayne Natwick" userId="d11f0013982d5c78" providerId="Windows Live" clId="Web-{AF7E15B6-46DF-4A93-812A-0A1DF0046D2D}" dt="2023-09-12T17:49:17.710" v="176"/>
        <pc:sldMkLst>
          <pc:docMk/>
          <pc:sldMk cId="449857184" sldId="2147470594"/>
        </pc:sldMkLst>
        <pc:spChg chg="mod">
          <ac:chgData name="Dwayne Natwick" userId="d11f0013982d5c78" providerId="Windows Live" clId="Web-{AF7E15B6-46DF-4A93-812A-0A1DF0046D2D}" dt="2023-09-12T17:49:17.710" v="176"/>
          <ac:spMkLst>
            <pc:docMk/>
            <pc:sldMk cId="449857184" sldId="2147470594"/>
            <ac:spMk id="2" creationId="{8839F5C4-843E-DBAD-044B-1872C9832914}"/>
          </ac:spMkLst>
        </pc:spChg>
        <pc:spChg chg="add del mod">
          <ac:chgData name="Dwayne Natwick" userId="d11f0013982d5c78" providerId="Windows Live" clId="Web-{AF7E15B6-46DF-4A93-812A-0A1DF0046D2D}" dt="2023-09-12T17:49:17.710" v="176"/>
          <ac:spMkLst>
            <pc:docMk/>
            <pc:sldMk cId="449857184" sldId="2147470594"/>
            <ac:spMk id="5" creationId="{9B72B5EA-96E2-7E6D-1C22-B026EF08D973}"/>
          </ac:spMkLst>
        </pc:spChg>
        <pc:spChg chg="del mod">
          <ac:chgData name="Dwayne Natwick" userId="d11f0013982d5c78" providerId="Windows Live" clId="Web-{AF7E15B6-46DF-4A93-812A-0A1DF0046D2D}" dt="2023-09-12T17:49:17.710" v="176"/>
          <ac:spMkLst>
            <pc:docMk/>
            <pc:sldMk cId="449857184" sldId="2147470594"/>
            <ac:spMk id="9" creationId="{7239C8F0-B9DF-87A5-21C6-7F2244DB4517}"/>
          </ac:spMkLst>
        </pc:spChg>
        <pc:graphicFrameChg chg="add mod">
          <ac:chgData name="Dwayne Natwick" userId="d11f0013982d5c78" providerId="Windows Live" clId="Web-{AF7E15B6-46DF-4A93-812A-0A1DF0046D2D}" dt="2023-09-12T17:49:17.710" v="176"/>
          <ac:graphicFrameMkLst>
            <pc:docMk/>
            <pc:sldMk cId="449857184" sldId="2147470594"/>
            <ac:graphicFrameMk id="11" creationId="{4FCBB56A-54EC-13D5-CEA2-56FB6C094E1B}"/>
          </ac:graphicFrameMkLst>
        </pc:graphicFrameChg>
        <pc:picChg chg="del">
          <ac:chgData name="Dwayne Natwick" userId="d11f0013982d5c78" providerId="Windows Live" clId="Web-{AF7E15B6-46DF-4A93-812A-0A1DF0046D2D}" dt="2023-09-12T17:46:41.501" v="120"/>
          <ac:picMkLst>
            <pc:docMk/>
            <pc:sldMk cId="449857184" sldId="2147470594"/>
            <ac:picMk id="4" creationId="{5AF45389-AE37-8E5F-A9DE-5C05DCB87D6A}"/>
          </ac:picMkLst>
        </pc:picChg>
      </pc:sldChg>
      <pc:sldChg chg="addSp delSp modSp add mod replId modClrScheme chgLayout">
        <pc:chgData name="Dwayne Natwick" userId="d11f0013982d5c78" providerId="Windows Live" clId="Web-{AF7E15B6-46DF-4A93-812A-0A1DF0046D2D}" dt="2023-09-12T18:34:13.477" v="1758"/>
        <pc:sldMkLst>
          <pc:docMk/>
          <pc:sldMk cId="3381500547" sldId="2147470595"/>
        </pc:sldMkLst>
        <pc:spChg chg="mod">
          <ac:chgData name="Dwayne Natwick" userId="d11f0013982d5c78" providerId="Windows Live" clId="Web-{AF7E15B6-46DF-4A93-812A-0A1DF0046D2D}" dt="2023-09-12T18:34:13.477" v="1758"/>
          <ac:spMkLst>
            <pc:docMk/>
            <pc:sldMk cId="3381500547" sldId="2147470595"/>
            <ac:spMk id="2" creationId="{8839F5C4-843E-DBAD-044B-1872C9832914}"/>
          </ac:spMkLst>
        </pc:spChg>
        <pc:spChg chg="del">
          <ac:chgData name="Dwayne Natwick" userId="d11f0013982d5c78" providerId="Windows Live" clId="Web-{AF7E15B6-46DF-4A93-812A-0A1DF0046D2D}" dt="2023-09-12T18:34:13.477" v="1758"/>
          <ac:spMkLst>
            <pc:docMk/>
            <pc:sldMk cId="3381500547" sldId="2147470595"/>
            <ac:spMk id="5" creationId="{9B72B5EA-96E2-7E6D-1C22-B026EF08D973}"/>
          </ac:spMkLst>
        </pc:spChg>
        <pc:spChg chg="del mod">
          <ac:chgData name="Dwayne Natwick" userId="d11f0013982d5c78" providerId="Windows Live" clId="Web-{AF7E15B6-46DF-4A93-812A-0A1DF0046D2D}" dt="2023-09-12T18:34:13.477" v="1758"/>
          <ac:spMkLst>
            <pc:docMk/>
            <pc:sldMk cId="3381500547" sldId="2147470595"/>
            <ac:spMk id="9" creationId="{7239C8F0-B9DF-87A5-21C6-7F2244DB4517}"/>
          </ac:spMkLst>
        </pc:spChg>
        <pc:graphicFrameChg chg="add mod">
          <ac:chgData name="Dwayne Natwick" userId="d11f0013982d5c78" providerId="Windows Live" clId="Web-{AF7E15B6-46DF-4A93-812A-0A1DF0046D2D}" dt="2023-09-12T18:34:13.477" v="1758"/>
          <ac:graphicFrameMkLst>
            <pc:docMk/>
            <pc:sldMk cId="3381500547" sldId="2147470595"/>
            <ac:graphicFrameMk id="11" creationId="{2183D4C5-A866-40A4-5694-A87F596A4052}"/>
          </ac:graphicFrameMkLst>
        </pc:graphicFrameChg>
      </pc:sldChg>
      <pc:sldChg chg="addSp modSp new">
        <pc:chgData name="Dwayne Natwick" userId="d11f0013982d5c78" providerId="Windows Live" clId="Web-{AF7E15B6-46DF-4A93-812A-0A1DF0046D2D}" dt="2023-09-12T18:02:23.566" v="479" actId="1076"/>
        <pc:sldMkLst>
          <pc:docMk/>
          <pc:sldMk cId="1619709891" sldId="2147470596"/>
        </pc:sldMkLst>
        <pc:spChg chg="mod">
          <ac:chgData name="Dwayne Natwick" userId="d11f0013982d5c78" providerId="Windows Live" clId="Web-{AF7E15B6-46DF-4A93-812A-0A1DF0046D2D}" dt="2023-09-12T17:56:54.586" v="327" actId="20577"/>
          <ac:spMkLst>
            <pc:docMk/>
            <pc:sldMk cId="1619709891" sldId="2147470596"/>
            <ac:spMk id="2" creationId="{C83B6E44-5BA6-5E05-4F62-06C1C1B4745F}"/>
          </ac:spMkLst>
        </pc:spChg>
        <pc:spChg chg="mod">
          <ac:chgData name="Dwayne Natwick" userId="d11f0013982d5c78" providerId="Windows Live" clId="Web-{AF7E15B6-46DF-4A93-812A-0A1DF0046D2D}" dt="2023-09-12T18:01:25.955" v="466" actId="20577"/>
          <ac:spMkLst>
            <pc:docMk/>
            <pc:sldMk cId="1619709891" sldId="2147470596"/>
            <ac:spMk id="3" creationId="{F8D78B17-9AC1-3773-F5A7-05FB325AB696}"/>
          </ac:spMkLst>
        </pc:spChg>
        <pc:picChg chg="add mod">
          <ac:chgData name="Dwayne Natwick" userId="d11f0013982d5c78" providerId="Windows Live" clId="Web-{AF7E15B6-46DF-4A93-812A-0A1DF0046D2D}" dt="2023-09-12T18:02:22.285" v="478" actId="1076"/>
          <ac:picMkLst>
            <pc:docMk/>
            <pc:sldMk cId="1619709891" sldId="2147470596"/>
            <ac:picMk id="4" creationId="{E4B1F715-1E43-CED5-B95B-CA22EDDF35F0}"/>
          </ac:picMkLst>
        </pc:picChg>
        <pc:picChg chg="add mod">
          <ac:chgData name="Dwayne Natwick" userId="d11f0013982d5c78" providerId="Windows Live" clId="Web-{AF7E15B6-46DF-4A93-812A-0A1DF0046D2D}" dt="2023-09-12T18:02:20.957" v="477" actId="1076"/>
          <ac:picMkLst>
            <pc:docMk/>
            <pc:sldMk cId="1619709891" sldId="2147470596"/>
            <ac:picMk id="5" creationId="{B91B4004-1918-A295-B3E4-6E2F659B7B18}"/>
          </ac:picMkLst>
        </pc:picChg>
        <pc:picChg chg="add mod">
          <ac:chgData name="Dwayne Natwick" userId="d11f0013982d5c78" providerId="Windows Live" clId="Web-{AF7E15B6-46DF-4A93-812A-0A1DF0046D2D}" dt="2023-09-12T18:02:23.566" v="479" actId="1076"/>
          <ac:picMkLst>
            <pc:docMk/>
            <pc:sldMk cId="1619709891" sldId="2147470596"/>
            <ac:picMk id="6" creationId="{C0F4C352-6777-1D9E-1226-66234D0C47DB}"/>
          </ac:picMkLst>
        </pc:picChg>
      </pc:sldChg>
      <pc:sldChg chg="addSp modSp add mod replId modClrScheme chgLayout">
        <pc:chgData name="Dwayne Natwick" userId="d11f0013982d5c78" providerId="Windows Live" clId="Web-{AF7E15B6-46DF-4A93-812A-0A1DF0046D2D}" dt="2023-09-12T18:06:07.871" v="617" actId="20577"/>
        <pc:sldMkLst>
          <pc:docMk/>
          <pc:sldMk cId="3056138002" sldId="2147470597"/>
        </pc:sldMkLst>
        <pc:spChg chg="mod">
          <ac:chgData name="Dwayne Natwick" userId="d11f0013982d5c78" providerId="Windows Live" clId="Web-{AF7E15B6-46DF-4A93-812A-0A1DF0046D2D}" dt="2023-09-12T18:05:03.181" v="582" actId="20577"/>
          <ac:spMkLst>
            <pc:docMk/>
            <pc:sldMk cId="3056138002" sldId="2147470597"/>
            <ac:spMk id="2" creationId="{C83B6E44-5BA6-5E05-4F62-06C1C1B4745F}"/>
          </ac:spMkLst>
        </pc:spChg>
        <pc:spChg chg="mod ord">
          <ac:chgData name="Dwayne Natwick" userId="d11f0013982d5c78" providerId="Windows Live" clId="Web-{AF7E15B6-46DF-4A93-812A-0A1DF0046D2D}" dt="2023-09-12T18:06:07.871" v="617" actId="20577"/>
          <ac:spMkLst>
            <pc:docMk/>
            <pc:sldMk cId="3056138002" sldId="2147470597"/>
            <ac:spMk id="3" creationId="{F8D78B17-9AC1-3773-F5A7-05FB325AB696}"/>
          </ac:spMkLst>
        </pc:spChg>
        <pc:picChg chg="add mod">
          <ac:chgData name="Dwayne Natwick" userId="d11f0013982d5c78" providerId="Windows Live" clId="Web-{AF7E15B6-46DF-4A93-812A-0A1DF0046D2D}" dt="2023-09-12T18:04:24.086" v="557"/>
          <ac:picMkLst>
            <pc:docMk/>
            <pc:sldMk cId="3056138002" sldId="2147470597"/>
            <ac:picMk id="4" creationId="{3C834E98-F6CA-66D9-C28E-92924765C16D}"/>
          </ac:picMkLst>
        </pc:picChg>
      </pc:sldChg>
      <pc:sldChg chg="addSp delSp modSp add replId modNotes">
        <pc:chgData name="Dwayne Natwick" userId="d11f0013982d5c78" providerId="Windows Live" clId="Web-{AF7E15B6-46DF-4A93-812A-0A1DF0046D2D}" dt="2023-09-12T18:08:57.267" v="684"/>
        <pc:sldMkLst>
          <pc:docMk/>
          <pc:sldMk cId="1103145275" sldId="2147470598"/>
        </pc:sldMkLst>
        <pc:spChg chg="mod">
          <ac:chgData name="Dwayne Natwick" userId="d11f0013982d5c78" providerId="Windows Live" clId="Web-{AF7E15B6-46DF-4A93-812A-0A1DF0046D2D}" dt="2023-09-12T18:05:26.041" v="595" actId="20577"/>
          <ac:spMkLst>
            <pc:docMk/>
            <pc:sldMk cId="1103145275" sldId="2147470598"/>
            <ac:spMk id="2" creationId="{C83B6E44-5BA6-5E05-4F62-06C1C1B4745F}"/>
          </ac:spMkLst>
        </pc:spChg>
        <pc:spChg chg="mod">
          <ac:chgData name="Dwayne Natwick" userId="d11f0013982d5c78" providerId="Windows Live" clId="Web-{AF7E15B6-46DF-4A93-812A-0A1DF0046D2D}" dt="2023-09-12T18:08:54.236" v="683" actId="20577"/>
          <ac:spMkLst>
            <pc:docMk/>
            <pc:sldMk cId="1103145275" sldId="2147470598"/>
            <ac:spMk id="3" creationId="{F8D78B17-9AC1-3773-F5A7-05FB325AB696}"/>
          </ac:spMkLst>
        </pc:spChg>
        <pc:picChg chg="del">
          <ac:chgData name="Dwayne Natwick" userId="d11f0013982d5c78" providerId="Windows Live" clId="Web-{AF7E15B6-46DF-4A93-812A-0A1DF0046D2D}" dt="2023-09-12T18:04:36.164" v="559"/>
          <ac:picMkLst>
            <pc:docMk/>
            <pc:sldMk cId="1103145275" sldId="2147470598"/>
            <ac:picMk id="4" creationId="{3C834E98-F6CA-66D9-C28E-92924765C16D}"/>
          </ac:picMkLst>
        </pc:picChg>
        <pc:picChg chg="add mod">
          <ac:chgData name="Dwayne Natwick" userId="d11f0013982d5c78" providerId="Windows Live" clId="Web-{AF7E15B6-46DF-4A93-812A-0A1DF0046D2D}" dt="2023-09-12T18:04:45.212" v="561"/>
          <ac:picMkLst>
            <pc:docMk/>
            <pc:sldMk cId="1103145275" sldId="2147470598"/>
            <ac:picMk id="5" creationId="{ACE3BBAE-9A18-5700-CE4F-E826C7A13EC8}"/>
          </ac:picMkLst>
        </pc:picChg>
      </pc:sldChg>
      <pc:sldChg chg="addSp delSp modSp add mod replId modClrScheme chgLayout">
        <pc:chgData name="Dwayne Natwick" userId="d11f0013982d5c78" providerId="Windows Live" clId="Web-{AF7E15B6-46DF-4A93-812A-0A1DF0046D2D}" dt="2023-09-12T18:34:20.134" v="1759"/>
        <pc:sldMkLst>
          <pc:docMk/>
          <pc:sldMk cId="2015539757" sldId="2147470599"/>
        </pc:sldMkLst>
        <pc:spChg chg="mod ord">
          <ac:chgData name="Dwayne Natwick" userId="d11f0013982d5c78" providerId="Windows Live" clId="Web-{AF7E15B6-46DF-4A93-812A-0A1DF0046D2D}" dt="2023-09-12T18:34:20.134" v="1759"/>
          <ac:spMkLst>
            <pc:docMk/>
            <pc:sldMk cId="2015539757" sldId="2147470599"/>
            <ac:spMk id="2" creationId="{8839F5C4-843E-DBAD-044B-1872C9832914}"/>
          </ac:spMkLst>
        </pc:spChg>
        <pc:spChg chg="del">
          <ac:chgData name="Dwayne Natwick" userId="d11f0013982d5c78" providerId="Windows Live" clId="Web-{AF7E15B6-46DF-4A93-812A-0A1DF0046D2D}" dt="2023-09-12T18:16:47.456" v="1066"/>
          <ac:spMkLst>
            <pc:docMk/>
            <pc:sldMk cId="2015539757" sldId="2147470599"/>
            <ac:spMk id="5" creationId="{9B72B5EA-96E2-7E6D-1C22-B026EF08D973}"/>
          </ac:spMkLst>
        </pc:spChg>
        <pc:spChg chg="del mod ord">
          <ac:chgData name="Dwayne Natwick" userId="d11f0013982d5c78" providerId="Windows Live" clId="Web-{AF7E15B6-46DF-4A93-812A-0A1DF0046D2D}" dt="2023-09-12T18:34:20.134" v="1759"/>
          <ac:spMkLst>
            <pc:docMk/>
            <pc:sldMk cId="2015539757" sldId="2147470599"/>
            <ac:spMk id="9" creationId="{7239C8F0-B9DF-87A5-21C6-7F2244DB4517}"/>
          </ac:spMkLst>
        </pc:spChg>
        <pc:graphicFrameChg chg="add">
          <ac:chgData name="Dwayne Natwick" userId="d11f0013982d5c78" providerId="Windows Live" clId="Web-{AF7E15B6-46DF-4A93-812A-0A1DF0046D2D}" dt="2023-09-12T18:34:20.134" v="1759"/>
          <ac:graphicFrameMkLst>
            <pc:docMk/>
            <pc:sldMk cId="2015539757" sldId="2147470599"/>
            <ac:graphicFrameMk id="11" creationId="{6281DC71-4E38-C0BA-1574-1BD154A67139}"/>
          </ac:graphicFrameMkLst>
        </pc:graphicFrameChg>
      </pc:sldChg>
      <pc:sldChg chg="delSp modSp new mod modClrScheme chgLayout modNotes">
        <pc:chgData name="Dwayne Natwick" userId="d11f0013982d5c78" providerId="Windows Live" clId="Web-{AF7E15B6-46DF-4A93-812A-0A1DF0046D2D}" dt="2023-09-12T18:17:08.003" v="1077" actId="20577"/>
        <pc:sldMkLst>
          <pc:docMk/>
          <pc:sldMk cId="917890403" sldId="2147470600"/>
        </pc:sldMkLst>
        <pc:spChg chg="mod ord">
          <ac:chgData name="Dwayne Natwick" userId="d11f0013982d5c78" providerId="Windows Live" clId="Web-{AF7E15B6-46DF-4A93-812A-0A1DF0046D2D}" dt="2023-09-12T18:17:08.003" v="1077" actId="20577"/>
          <ac:spMkLst>
            <pc:docMk/>
            <pc:sldMk cId="917890403" sldId="2147470600"/>
            <ac:spMk id="2" creationId="{87B48A8C-DD2D-E0F4-C077-DDC5365DC9E8}"/>
          </ac:spMkLst>
        </pc:spChg>
        <pc:spChg chg="mod ord">
          <ac:chgData name="Dwayne Natwick" userId="d11f0013982d5c78" providerId="Windows Live" clId="Web-{AF7E15B6-46DF-4A93-812A-0A1DF0046D2D}" dt="2023-09-12T18:16:41.268" v="1065" actId="20577"/>
          <ac:spMkLst>
            <pc:docMk/>
            <pc:sldMk cId="917890403" sldId="2147470600"/>
            <ac:spMk id="3" creationId="{DDB7FF23-C1F3-ECC1-8CF4-0F54F4733DD3}"/>
          </ac:spMkLst>
        </pc:spChg>
        <pc:spChg chg="del">
          <ac:chgData name="Dwayne Natwick" userId="d11f0013982d5c78" providerId="Windows Live" clId="Web-{AF7E15B6-46DF-4A93-812A-0A1DF0046D2D}" dt="2023-09-12T18:14:55.999" v="998"/>
          <ac:spMkLst>
            <pc:docMk/>
            <pc:sldMk cId="917890403" sldId="2147470600"/>
            <ac:spMk id="4" creationId="{C89B4CB5-582F-97E0-6168-3B47693006C0}"/>
          </ac:spMkLst>
        </pc:spChg>
      </pc:sldChg>
      <pc:sldChg chg="modSp add replId modNotes">
        <pc:chgData name="Dwayne Natwick" userId="d11f0013982d5c78" providerId="Windows Live" clId="Web-{AF7E15B6-46DF-4A93-812A-0A1DF0046D2D}" dt="2023-09-12T18:18:22.772" v="1090"/>
        <pc:sldMkLst>
          <pc:docMk/>
          <pc:sldMk cId="2983617397" sldId="2147470601"/>
        </pc:sldMkLst>
        <pc:spChg chg="mod">
          <ac:chgData name="Dwayne Natwick" userId="d11f0013982d5c78" providerId="Windows Live" clId="Web-{AF7E15B6-46DF-4A93-812A-0A1DF0046D2D}" dt="2023-09-12T18:17:38.083" v="1087" actId="20577"/>
          <ac:spMkLst>
            <pc:docMk/>
            <pc:sldMk cId="2983617397" sldId="2147470601"/>
            <ac:spMk id="2" creationId="{87B48A8C-DD2D-E0F4-C077-DDC5365DC9E8}"/>
          </ac:spMkLst>
        </pc:spChg>
      </pc:sldChg>
      <pc:sldChg chg="modSp new modNotes">
        <pc:chgData name="Dwayne Natwick" userId="d11f0013982d5c78" providerId="Windows Live" clId="Web-{AF7E15B6-46DF-4A93-812A-0A1DF0046D2D}" dt="2023-09-12T18:25:27.302" v="1354" actId="20577"/>
        <pc:sldMkLst>
          <pc:docMk/>
          <pc:sldMk cId="1171446039" sldId="2147470602"/>
        </pc:sldMkLst>
        <pc:spChg chg="mod">
          <ac:chgData name="Dwayne Natwick" userId="d11f0013982d5c78" providerId="Windows Live" clId="Web-{AF7E15B6-46DF-4A93-812A-0A1DF0046D2D}" dt="2023-09-12T18:22:20.843" v="1200" actId="20577"/>
          <ac:spMkLst>
            <pc:docMk/>
            <pc:sldMk cId="1171446039" sldId="2147470602"/>
            <ac:spMk id="2" creationId="{64AB2EE4-07A0-D158-D22F-B55E61E4F006}"/>
          </ac:spMkLst>
        </pc:spChg>
        <pc:spChg chg="mod">
          <ac:chgData name="Dwayne Natwick" userId="d11f0013982d5c78" providerId="Windows Live" clId="Web-{AF7E15B6-46DF-4A93-812A-0A1DF0046D2D}" dt="2023-09-12T18:25:27.302" v="1354" actId="20577"/>
          <ac:spMkLst>
            <pc:docMk/>
            <pc:sldMk cId="1171446039" sldId="2147470602"/>
            <ac:spMk id="3" creationId="{85C97FA8-BE0A-E10E-33B0-9E19F185EBA4}"/>
          </ac:spMkLst>
        </pc:spChg>
      </pc:sldChg>
      <pc:sldChg chg="delSp modSp new mod modClrScheme chgLayout">
        <pc:chgData name="Dwayne Natwick" userId="d11f0013982d5c78" providerId="Windows Live" clId="Web-{AF7E15B6-46DF-4A93-812A-0A1DF0046D2D}" dt="2023-09-12T18:37:19.390" v="1775" actId="20577"/>
        <pc:sldMkLst>
          <pc:docMk/>
          <pc:sldMk cId="818381816" sldId="2147470603"/>
        </pc:sldMkLst>
        <pc:spChg chg="mod ord">
          <ac:chgData name="Dwayne Natwick" userId="d11f0013982d5c78" providerId="Windows Live" clId="Web-{AF7E15B6-46DF-4A93-812A-0A1DF0046D2D}" dt="2023-09-12T18:37:19.390" v="1775" actId="20577"/>
          <ac:spMkLst>
            <pc:docMk/>
            <pc:sldMk cId="818381816" sldId="2147470603"/>
            <ac:spMk id="2" creationId="{405A5204-DC92-084D-2C0F-8862EE432163}"/>
          </ac:spMkLst>
        </pc:spChg>
        <pc:spChg chg="del">
          <ac:chgData name="Dwayne Natwick" userId="d11f0013982d5c78" providerId="Windows Live" clId="Web-{AF7E15B6-46DF-4A93-812A-0A1DF0046D2D}" dt="2023-09-12T18:36:57.530" v="1764"/>
          <ac:spMkLst>
            <pc:docMk/>
            <pc:sldMk cId="818381816" sldId="2147470603"/>
            <ac:spMk id="3" creationId="{BEB97284-EFA1-C21C-E2A4-933CE9322F7D}"/>
          </ac:spMkLst>
        </pc:spChg>
      </pc:sldChg>
      <pc:sldChg chg="modSp add replId">
        <pc:chgData name="Dwayne Natwick" userId="d11f0013982d5c78" providerId="Windows Live" clId="Web-{AF7E15B6-46DF-4A93-812A-0A1DF0046D2D}" dt="2023-09-12T18:38:10.080" v="1790" actId="20577"/>
        <pc:sldMkLst>
          <pc:docMk/>
          <pc:sldMk cId="1742974702" sldId="2147470604"/>
        </pc:sldMkLst>
        <pc:spChg chg="mod">
          <ac:chgData name="Dwayne Natwick" userId="d11f0013982d5c78" providerId="Windows Live" clId="Web-{AF7E15B6-46DF-4A93-812A-0A1DF0046D2D}" dt="2023-09-12T18:38:10.080" v="1790" actId="20577"/>
          <ac:spMkLst>
            <pc:docMk/>
            <pc:sldMk cId="1742974702" sldId="2147470604"/>
            <ac:spMk id="3" creationId="{85C97FA8-BE0A-E10E-33B0-9E19F185EBA4}"/>
          </ac:spMkLst>
        </pc:spChg>
      </pc:sldChg>
      <pc:sldChg chg="modSp add replId">
        <pc:chgData name="Dwayne Natwick" userId="d11f0013982d5c78" providerId="Windows Live" clId="Web-{AF7E15B6-46DF-4A93-812A-0A1DF0046D2D}" dt="2023-09-12T18:37:59.407" v="1784" actId="20577"/>
        <pc:sldMkLst>
          <pc:docMk/>
          <pc:sldMk cId="1637472956" sldId="2147470605"/>
        </pc:sldMkLst>
        <pc:spChg chg="mod">
          <ac:chgData name="Dwayne Natwick" userId="d11f0013982d5c78" providerId="Windows Live" clId="Web-{AF7E15B6-46DF-4A93-812A-0A1DF0046D2D}" dt="2023-09-12T18:37:59.407" v="1784" actId="20577"/>
          <ac:spMkLst>
            <pc:docMk/>
            <pc:sldMk cId="1637472956" sldId="2147470605"/>
            <ac:spMk id="3" creationId="{DDB7FF23-C1F3-ECC1-8CF4-0F54F4733DD3}"/>
          </ac:spMkLst>
        </pc:spChg>
      </pc:sldChg>
      <pc:sldChg chg="modSp add replId">
        <pc:chgData name="Dwayne Natwick" userId="d11f0013982d5c78" providerId="Windows Live" clId="Web-{AF7E15B6-46DF-4A93-812A-0A1DF0046D2D}" dt="2023-09-12T18:37:54.157" v="1781" actId="20577"/>
        <pc:sldMkLst>
          <pc:docMk/>
          <pc:sldMk cId="3543320482" sldId="2147470606"/>
        </pc:sldMkLst>
        <pc:spChg chg="mod">
          <ac:chgData name="Dwayne Natwick" userId="d11f0013982d5c78" providerId="Windows Live" clId="Web-{AF7E15B6-46DF-4A93-812A-0A1DF0046D2D}" dt="2023-09-12T18:37:54.157" v="1781" actId="20577"/>
          <ac:spMkLst>
            <pc:docMk/>
            <pc:sldMk cId="3543320482" sldId="2147470606"/>
            <ac:spMk id="3" creationId="{DDB7FF23-C1F3-ECC1-8CF4-0F54F4733DD3}"/>
          </ac:spMkLst>
        </pc:spChg>
      </pc:sldChg>
    </pc:docChg>
  </pc:docChgLst>
  <pc:docChgLst>
    <pc:chgData name="Dwayne Natwick" userId="d11f0013982d5c78" providerId="Windows Live" clId="Web-{0776C629-8D4C-43A4-976C-2EA887EB93F6}"/>
    <pc:docChg chg="addSld delSld modSld">
      <pc:chgData name="Dwayne Natwick" userId="d11f0013982d5c78" providerId="Windows Live" clId="Web-{0776C629-8D4C-43A4-976C-2EA887EB93F6}" dt="2023-09-14T16:11:52.046" v="357"/>
      <pc:docMkLst>
        <pc:docMk/>
      </pc:docMkLst>
      <pc:sldChg chg="modSp">
        <pc:chgData name="Dwayne Natwick" userId="d11f0013982d5c78" providerId="Windows Live" clId="Web-{0776C629-8D4C-43A4-976C-2EA887EB93F6}" dt="2023-09-14T16:01:37.934" v="49" actId="20577"/>
        <pc:sldMkLst>
          <pc:docMk/>
          <pc:sldMk cId="1550946110" sldId="2147470558"/>
        </pc:sldMkLst>
        <pc:spChg chg="mod">
          <ac:chgData name="Dwayne Natwick" userId="d11f0013982d5c78" providerId="Windows Live" clId="Web-{0776C629-8D4C-43A4-976C-2EA887EB93F6}" dt="2023-09-14T16:01:37.934" v="49" actId="20577"/>
          <ac:spMkLst>
            <pc:docMk/>
            <pc:sldMk cId="1550946110" sldId="2147470558"/>
            <ac:spMk id="7" creationId="{BAEABFA2-6886-4059-8BDC-CEA47006EF42}"/>
          </ac:spMkLst>
        </pc:spChg>
        <pc:spChg chg="mod">
          <ac:chgData name="Dwayne Natwick" userId="d11f0013982d5c78" providerId="Windows Live" clId="Web-{0776C629-8D4C-43A4-976C-2EA887EB93F6}" dt="2023-09-14T16:01:35.356" v="48" actId="20577"/>
          <ac:spMkLst>
            <pc:docMk/>
            <pc:sldMk cId="1550946110" sldId="2147470558"/>
            <ac:spMk id="9" creationId="{DEC298B1-8CEC-496A-A434-6778D0312A8B}"/>
          </ac:spMkLst>
        </pc:spChg>
      </pc:sldChg>
      <pc:sldChg chg="delSp modSp">
        <pc:chgData name="Dwayne Natwick" userId="d11f0013982d5c78" providerId="Windows Live" clId="Web-{0776C629-8D4C-43A4-976C-2EA887EB93F6}" dt="2023-09-14T16:11:52.046" v="357"/>
        <pc:sldMkLst>
          <pc:docMk/>
          <pc:sldMk cId="3682517411" sldId="2147470559"/>
        </pc:sldMkLst>
        <pc:graphicFrameChg chg="mod modGraphic">
          <ac:chgData name="Dwayne Natwick" userId="d11f0013982d5c78" providerId="Windows Live" clId="Web-{0776C629-8D4C-43A4-976C-2EA887EB93F6}" dt="2023-09-14T16:11:52.046" v="357"/>
          <ac:graphicFrameMkLst>
            <pc:docMk/>
            <pc:sldMk cId="3682517411" sldId="2147470559"/>
            <ac:graphicFrameMk id="8" creationId="{CC919F4A-A7D9-8DDD-DB16-BF7FF8DD9E3B}"/>
          </ac:graphicFrameMkLst>
        </pc:graphicFrameChg>
        <pc:graphicFrameChg chg="del mod modGraphic">
          <ac:chgData name="Dwayne Natwick" userId="d11f0013982d5c78" providerId="Windows Live" clId="Web-{0776C629-8D4C-43A4-976C-2EA887EB93F6}" dt="2023-09-14T16:05:28.050" v="256"/>
          <ac:graphicFrameMkLst>
            <pc:docMk/>
            <pc:sldMk cId="3682517411" sldId="2147470559"/>
            <ac:graphicFrameMk id="11" creationId="{A52E73B0-7A2A-ED30-FEF2-D5B76028305D}"/>
          </ac:graphicFrameMkLst>
        </pc:graphicFrameChg>
      </pc:sldChg>
      <pc:sldChg chg="modSp">
        <pc:chgData name="Dwayne Natwick" userId="d11f0013982d5c78" providerId="Windows Live" clId="Web-{0776C629-8D4C-43A4-976C-2EA887EB93F6}" dt="2023-09-14T16:06:43.443" v="276" actId="20577"/>
        <pc:sldMkLst>
          <pc:docMk/>
          <pc:sldMk cId="2739312586" sldId="2147470565"/>
        </pc:sldMkLst>
        <pc:spChg chg="mod">
          <ac:chgData name="Dwayne Natwick" userId="d11f0013982d5c78" providerId="Windows Live" clId="Web-{0776C629-8D4C-43A4-976C-2EA887EB93F6}" dt="2023-09-14T16:06:43.443" v="276" actId="20577"/>
          <ac:spMkLst>
            <pc:docMk/>
            <pc:sldMk cId="2739312586" sldId="2147470565"/>
            <ac:spMk id="4" creationId="{DAA5FD98-5292-2367-63BF-BB583BFC2A96}"/>
          </ac:spMkLst>
        </pc:spChg>
      </pc:sldChg>
      <pc:sldChg chg="modSp">
        <pc:chgData name="Dwayne Natwick" userId="d11f0013982d5c78" providerId="Windows Live" clId="Web-{0776C629-8D4C-43A4-976C-2EA887EB93F6}" dt="2023-09-14T16:09:20.089" v="295" actId="20577"/>
        <pc:sldMkLst>
          <pc:docMk/>
          <pc:sldMk cId="2251723249" sldId="2147470571"/>
        </pc:sldMkLst>
        <pc:spChg chg="mod">
          <ac:chgData name="Dwayne Natwick" userId="d11f0013982d5c78" providerId="Windows Live" clId="Web-{0776C629-8D4C-43A4-976C-2EA887EB93F6}" dt="2023-09-14T16:09:20.089" v="295" actId="20577"/>
          <ac:spMkLst>
            <pc:docMk/>
            <pc:sldMk cId="2251723249" sldId="2147470571"/>
            <ac:spMk id="4" creationId="{DAA5FD98-5292-2367-63BF-BB583BFC2A96}"/>
          </ac:spMkLst>
        </pc:spChg>
      </pc:sldChg>
      <pc:sldChg chg="del">
        <pc:chgData name="Dwayne Natwick" userId="d11f0013982d5c78" providerId="Windows Live" clId="Web-{0776C629-8D4C-43A4-976C-2EA887EB93F6}" dt="2023-09-14T16:06:16.380" v="265"/>
        <pc:sldMkLst>
          <pc:docMk/>
          <pc:sldMk cId="1593797140" sldId="2147470578"/>
        </pc:sldMkLst>
      </pc:sldChg>
      <pc:sldChg chg="del">
        <pc:chgData name="Dwayne Natwick" userId="d11f0013982d5c78" providerId="Windows Live" clId="Web-{0776C629-8D4C-43A4-976C-2EA887EB93F6}" dt="2023-09-14T16:06:16.380" v="264"/>
        <pc:sldMkLst>
          <pc:docMk/>
          <pc:sldMk cId="1083283128" sldId="2147470581"/>
        </pc:sldMkLst>
      </pc:sldChg>
      <pc:sldChg chg="del">
        <pc:chgData name="Dwayne Natwick" userId="d11f0013982d5c78" providerId="Windows Live" clId="Web-{0776C629-8D4C-43A4-976C-2EA887EB93F6}" dt="2023-09-14T16:06:16.380" v="262"/>
        <pc:sldMkLst>
          <pc:docMk/>
          <pc:sldMk cId="3763189814" sldId="2147470582"/>
        </pc:sldMkLst>
      </pc:sldChg>
      <pc:sldChg chg="addSp delSp modSp new mod modClrScheme chgLayout">
        <pc:chgData name="Dwayne Natwick" userId="d11f0013982d5c78" providerId="Windows Live" clId="Web-{0776C629-8D4C-43A4-976C-2EA887EB93F6}" dt="2023-09-14T16:07:12.975" v="293"/>
        <pc:sldMkLst>
          <pc:docMk/>
          <pc:sldMk cId="702810448" sldId="2147470603"/>
        </pc:sldMkLst>
        <pc:spChg chg="del">
          <ac:chgData name="Dwayne Natwick" userId="d11f0013982d5c78" providerId="Windows Live" clId="Web-{0776C629-8D4C-43A4-976C-2EA887EB93F6}" dt="2023-09-14T16:06:56.162" v="278"/>
          <ac:spMkLst>
            <pc:docMk/>
            <pc:sldMk cId="702810448" sldId="2147470603"/>
            <ac:spMk id="2" creationId="{86D50974-851A-8A1C-4FF3-6F3CB8137A6B}"/>
          </ac:spMkLst>
        </pc:spChg>
        <pc:spChg chg="mod ord">
          <ac:chgData name="Dwayne Natwick" userId="d11f0013982d5c78" providerId="Windows Live" clId="Web-{0776C629-8D4C-43A4-976C-2EA887EB93F6}" dt="2023-09-14T16:07:12.975" v="293"/>
          <ac:spMkLst>
            <pc:docMk/>
            <pc:sldMk cId="702810448" sldId="2147470603"/>
            <ac:spMk id="3" creationId="{6B58DB51-7D0F-F03B-7A4F-5721D8CDBA64}"/>
          </ac:spMkLst>
        </pc:spChg>
        <pc:spChg chg="add mod ord">
          <ac:chgData name="Dwayne Natwick" userId="d11f0013982d5c78" providerId="Windows Live" clId="Web-{0776C629-8D4C-43A4-976C-2EA887EB93F6}" dt="2023-09-14T16:06:56.162" v="278"/>
          <ac:spMkLst>
            <pc:docMk/>
            <pc:sldMk cId="702810448" sldId="2147470603"/>
            <ac:spMk id="4" creationId="{CDA8EC64-B53D-6044-1646-DDC518D794AC}"/>
          </ac:spMkLst>
        </pc:spChg>
      </pc:sldChg>
      <pc:sldChg chg="del">
        <pc:chgData name="Dwayne Natwick" userId="d11f0013982d5c78" providerId="Windows Live" clId="Web-{0776C629-8D4C-43A4-976C-2EA887EB93F6}" dt="2023-09-14T16:06:16.380" v="263"/>
        <pc:sldMkLst>
          <pc:docMk/>
          <pc:sldMk cId="818381816" sldId="2147470603"/>
        </pc:sldMkLst>
      </pc:sldChg>
      <pc:sldChg chg="del">
        <pc:chgData name="Dwayne Natwick" userId="d11f0013982d5c78" providerId="Windows Live" clId="Web-{0776C629-8D4C-43A4-976C-2EA887EB93F6}" dt="2023-09-14T16:06:16.380" v="259"/>
        <pc:sldMkLst>
          <pc:docMk/>
          <pc:sldMk cId="1742974702" sldId="2147470604"/>
        </pc:sldMkLst>
      </pc:sldChg>
      <pc:sldChg chg="del">
        <pc:chgData name="Dwayne Natwick" userId="d11f0013982d5c78" providerId="Windows Live" clId="Web-{0776C629-8D4C-43A4-976C-2EA887EB93F6}" dt="2023-09-14T16:06:16.380" v="260"/>
        <pc:sldMkLst>
          <pc:docMk/>
          <pc:sldMk cId="1637472956" sldId="2147470605"/>
        </pc:sldMkLst>
      </pc:sldChg>
      <pc:sldChg chg="del">
        <pc:chgData name="Dwayne Natwick" userId="d11f0013982d5c78" providerId="Windows Live" clId="Web-{0776C629-8D4C-43A4-976C-2EA887EB93F6}" dt="2023-09-14T16:06:16.380" v="261"/>
        <pc:sldMkLst>
          <pc:docMk/>
          <pc:sldMk cId="3543320482" sldId="2147470606"/>
        </pc:sldMkLst>
      </pc:sldChg>
    </pc:docChg>
  </pc:docChgLst>
  <pc:docChgLst>
    <pc:chgData name="Dwayne Natwick" userId="d11f0013982d5c78" providerId="Windows Live" clId="Web-{E14C6DA2-5B0C-45CC-AEC3-63D802FBCC59}"/>
    <pc:docChg chg="modSld">
      <pc:chgData name="Dwayne Natwick" userId="d11f0013982d5c78" providerId="Windows Live" clId="Web-{E14C6DA2-5B0C-45CC-AEC3-63D802FBCC59}" dt="2023-09-15T12:28:16.488" v="3"/>
      <pc:docMkLst>
        <pc:docMk/>
      </pc:docMkLst>
      <pc:sldChg chg="addSp delSp modSp">
        <pc:chgData name="Dwayne Natwick" userId="d11f0013982d5c78" providerId="Windows Live" clId="Web-{E14C6DA2-5B0C-45CC-AEC3-63D802FBCC59}" dt="2023-09-15T12:28:16.488" v="3"/>
        <pc:sldMkLst>
          <pc:docMk/>
          <pc:sldMk cId="2251723249" sldId="2147470571"/>
        </pc:sldMkLst>
        <pc:picChg chg="add del mod">
          <ac:chgData name="Dwayne Natwick" userId="d11f0013982d5c78" providerId="Windows Live" clId="Web-{E14C6DA2-5B0C-45CC-AEC3-63D802FBCC59}" dt="2023-09-15T12:28:09.066" v="1"/>
          <ac:picMkLst>
            <pc:docMk/>
            <pc:sldMk cId="2251723249" sldId="2147470571"/>
            <ac:picMk id="2" creationId="{C4360434-70BA-43B6-DD41-413FC7EBE89A}"/>
          </ac:picMkLst>
        </pc:picChg>
        <pc:picChg chg="add del mod">
          <ac:chgData name="Dwayne Natwick" userId="d11f0013982d5c78" providerId="Windows Live" clId="Web-{E14C6DA2-5B0C-45CC-AEC3-63D802FBCC59}" dt="2023-09-15T12:28:16.488" v="3"/>
          <ac:picMkLst>
            <pc:docMk/>
            <pc:sldMk cId="2251723249" sldId="2147470571"/>
            <ac:picMk id="3" creationId="{910B8DDA-64E9-236B-C18B-04586A024D55}"/>
          </ac:picMkLst>
        </pc:picChg>
      </pc:sldChg>
    </pc:docChg>
  </pc:docChgLst>
  <pc:docChgLst>
    <pc:chgData name="Dwayne Natwick" userId="d11f0013982d5c78" providerId="Windows Live" clId="Web-{BADFC5F9-7469-4C33-B617-8367941D32AF}"/>
    <pc:docChg chg="addSld delSld modSld sldOrd">
      <pc:chgData name="Dwayne Natwick" userId="d11f0013982d5c78" providerId="Windows Live" clId="Web-{BADFC5F9-7469-4C33-B617-8367941D32AF}" dt="2023-09-07T18:49:40.953" v="1795"/>
      <pc:docMkLst>
        <pc:docMk/>
      </pc:docMkLst>
      <pc:sldChg chg="del">
        <pc:chgData name="Dwayne Natwick" userId="d11f0013982d5c78" providerId="Windows Live" clId="Web-{BADFC5F9-7469-4C33-B617-8367941D32AF}" dt="2023-09-07T18:41:08.784" v="1557"/>
        <pc:sldMkLst>
          <pc:docMk/>
          <pc:sldMk cId="3253430385" sldId="2145705714"/>
        </pc:sldMkLst>
      </pc:sldChg>
      <pc:sldChg chg="del">
        <pc:chgData name="Dwayne Natwick" userId="d11f0013982d5c78" providerId="Windows Live" clId="Web-{BADFC5F9-7469-4C33-B617-8367941D32AF}" dt="2023-09-07T18:40:40.659" v="1555"/>
        <pc:sldMkLst>
          <pc:docMk/>
          <pc:sldMk cId="3175284616" sldId="2147469791"/>
        </pc:sldMkLst>
      </pc:sldChg>
      <pc:sldChg chg="modSp">
        <pc:chgData name="Dwayne Natwick" userId="d11f0013982d5c78" providerId="Windows Live" clId="Web-{BADFC5F9-7469-4C33-B617-8367941D32AF}" dt="2023-09-07T17:43:22.061" v="6" actId="20577"/>
        <pc:sldMkLst>
          <pc:docMk/>
          <pc:sldMk cId="19297968" sldId="2147470553"/>
        </pc:sldMkLst>
        <pc:spChg chg="mod">
          <ac:chgData name="Dwayne Natwick" userId="d11f0013982d5c78" providerId="Windows Live" clId="Web-{BADFC5F9-7469-4C33-B617-8367941D32AF}" dt="2023-09-07T17:43:22.061" v="6" actId="20577"/>
          <ac:spMkLst>
            <pc:docMk/>
            <pc:sldMk cId="19297968" sldId="2147470553"/>
            <ac:spMk id="2" creationId="{A1A8D485-FD33-2DA7-238E-EDF73027901B}"/>
          </ac:spMkLst>
        </pc:spChg>
      </pc:sldChg>
      <pc:sldChg chg="del">
        <pc:chgData name="Dwayne Natwick" userId="d11f0013982d5c78" providerId="Windows Live" clId="Web-{BADFC5F9-7469-4C33-B617-8367941D32AF}" dt="2023-09-07T18:40:50.487" v="1556"/>
        <pc:sldMkLst>
          <pc:docMk/>
          <pc:sldMk cId="2589529145" sldId="2147470556"/>
        </pc:sldMkLst>
      </pc:sldChg>
      <pc:sldChg chg="modSp add modNotes">
        <pc:chgData name="Dwayne Natwick" userId="d11f0013982d5c78" providerId="Windows Live" clId="Web-{BADFC5F9-7469-4C33-B617-8367941D32AF}" dt="2023-09-07T18:48:53.389" v="1790"/>
        <pc:sldMkLst>
          <pc:docMk/>
          <pc:sldMk cId="2945821040" sldId="2147470557"/>
        </pc:sldMkLst>
        <pc:spChg chg="mod">
          <ac:chgData name="Dwayne Natwick" userId="d11f0013982d5c78" providerId="Windows Live" clId="Web-{BADFC5F9-7469-4C33-B617-8367941D32AF}" dt="2023-09-07T17:47:59.864" v="55" actId="20577"/>
          <ac:spMkLst>
            <pc:docMk/>
            <pc:sldMk cId="2945821040" sldId="2147470557"/>
            <ac:spMk id="6" creationId="{34C8A714-55EC-40AC-B65A-1F994DEC5152}"/>
          </ac:spMkLst>
        </pc:spChg>
        <pc:spChg chg="mod">
          <ac:chgData name="Dwayne Natwick" userId="d11f0013982d5c78" providerId="Windows Live" clId="Web-{BADFC5F9-7469-4C33-B617-8367941D32AF}" dt="2023-09-07T17:47:19.379" v="21" actId="20577"/>
          <ac:spMkLst>
            <pc:docMk/>
            <pc:sldMk cId="2945821040" sldId="2147470557"/>
            <ac:spMk id="11" creationId="{4CDBBAB8-E9CB-47C6-E69D-F17DB5F47E42}"/>
          </ac:spMkLst>
        </pc:spChg>
        <pc:spChg chg="mod">
          <ac:chgData name="Dwayne Natwick" userId="d11f0013982d5c78" providerId="Windows Live" clId="Web-{BADFC5F9-7469-4C33-B617-8367941D32AF}" dt="2023-09-07T17:50:01.305" v="156" actId="20577"/>
          <ac:spMkLst>
            <pc:docMk/>
            <pc:sldMk cId="2945821040" sldId="2147470557"/>
            <ac:spMk id="28" creationId="{C9EAB225-5AB7-686B-2B0B-5A0DA0699DAA}"/>
          </ac:spMkLst>
        </pc:spChg>
        <pc:spChg chg="mod">
          <ac:chgData name="Dwayne Natwick" userId="d11f0013982d5c78" providerId="Windows Live" clId="Web-{BADFC5F9-7469-4C33-B617-8367941D32AF}" dt="2023-09-07T17:48:57.178" v="108" actId="20577"/>
          <ac:spMkLst>
            <pc:docMk/>
            <pc:sldMk cId="2945821040" sldId="2147470557"/>
            <ac:spMk id="31" creationId="{396F3C3E-06A6-C7C0-E225-74DAE937B4B6}"/>
          </ac:spMkLst>
        </pc:spChg>
        <pc:spChg chg="mod">
          <ac:chgData name="Dwayne Natwick" userId="d11f0013982d5c78" providerId="Windows Live" clId="Web-{BADFC5F9-7469-4C33-B617-8367941D32AF}" dt="2023-09-07T17:49:21.538" v="134" actId="20577"/>
          <ac:spMkLst>
            <pc:docMk/>
            <pc:sldMk cId="2945821040" sldId="2147470557"/>
            <ac:spMk id="34" creationId="{A53BEA30-32DF-F647-94E1-F0D90C6E0D13}"/>
          </ac:spMkLst>
        </pc:spChg>
        <pc:spChg chg="mod">
          <ac:chgData name="Dwayne Natwick" userId="d11f0013982d5c78" providerId="Windows Live" clId="Web-{BADFC5F9-7469-4C33-B617-8367941D32AF}" dt="2023-09-07T17:49:57.258" v="155" actId="20577"/>
          <ac:spMkLst>
            <pc:docMk/>
            <pc:sldMk cId="2945821040" sldId="2147470557"/>
            <ac:spMk id="37" creationId="{F54DB8AE-368A-6FC1-959E-5DD62306E2C5}"/>
          </ac:spMkLst>
        </pc:spChg>
      </pc:sldChg>
      <pc:sldChg chg="modSp add modNotes">
        <pc:chgData name="Dwayne Natwick" userId="d11f0013982d5c78" providerId="Windows Live" clId="Web-{BADFC5F9-7469-4C33-B617-8367941D32AF}" dt="2023-09-07T18:49:03.468" v="1791"/>
        <pc:sldMkLst>
          <pc:docMk/>
          <pc:sldMk cId="1550946110" sldId="2147470558"/>
        </pc:sldMkLst>
        <pc:spChg chg="mod">
          <ac:chgData name="Dwayne Natwick" userId="d11f0013982d5c78" providerId="Windows Live" clId="Web-{BADFC5F9-7469-4C33-B617-8367941D32AF}" dt="2023-09-07T18:06:17.953" v="523" actId="20577"/>
          <ac:spMkLst>
            <pc:docMk/>
            <pc:sldMk cId="1550946110" sldId="2147470558"/>
            <ac:spMk id="7" creationId="{BAEABFA2-6886-4059-8BDC-CEA47006EF42}"/>
          </ac:spMkLst>
        </pc:spChg>
        <pc:spChg chg="mod">
          <ac:chgData name="Dwayne Natwick" userId="d11f0013982d5c78" providerId="Windows Live" clId="Web-{BADFC5F9-7469-4C33-B617-8367941D32AF}" dt="2023-09-07T18:06:39.813" v="543" actId="20577"/>
          <ac:spMkLst>
            <pc:docMk/>
            <pc:sldMk cId="1550946110" sldId="2147470558"/>
            <ac:spMk id="9" creationId="{DEC298B1-8CEC-496A-A434-6778D0312A8B}"/>
          </ac:spMkLst>
        </pc:spChg>
      </pc:sldChg>
      <pc:sldChg chg="modSp add">
        <pc:chgData name="Dwayne Natwick" userId="d11f0013982d5c78" providerId="Windows Live" clId="Web-{BADFC5F9-7469-4C33-B617-8367941D32AF}" dt="2023-09-07T18:15:16.856" v="1024"/>
        <pc:sldMkLst>
          <pc:docMk/>
          <pc:sldMk cId="3682517411" sldId="2147470559"/>
        </pc:sldMkLst>
        <pc:graphicFrameChg chg="mod modGraphic">
          <ac:chgData name="Dwayne Natwick" userId="d11f0013982d5c78" providerId="Windows Live" clId="Web-{BADFC5F9-7469-4C33-B617-8367941D32AF}" dt="2023-09-07T18:13:38.588" v="926" actId="1076"/>
          <ac:graphicFrameMkLst>
            <pc:docMk/>
            <pc:sldMk cId="3682517411" sldId="2147470559"/>
            <ac:graphicFrameMk id="8" creationId="{CC919F4A-A7D9-8DDD-DB16-BF7FF8DD9E3B}"/>
          </ac:graphicFrameMkLst>
        </pc:graphicFrameChg>
        <pc:graphicFrameChg chg="mod modGraphic">
          <ac:chgData name="Dwayne Natwick" userId="d11f0013982d5c78" providerId="Windows Live" clId="Web-{BADFC5F9-7469-4C33-B617-8367941D32AF}" dt="2023-09-07T18:15:16.856" v="1024"/>
          <ac:graphicFrameMkLst>
            <pc:docMk/>
            <pc:sldMk cId="3682517411" sldId="2147470559"/>
            <ac:graphicFrameMk id="11" creationId="{A52E73B0-7A2A-ED30-FEF2-D5B76028305D}"/>
          </ac:graphicFrameMkLst>
        </pc:graphicFrameChg>
      </pc:sldChg>
      <pc:sldChg chg="modSp add">
        <pc:chgData name="Dwayne Natwick" userId="d11f0013982d5c78" providerId="Windows Live" clId="Web-{BADFC5F9-7469-4C33-B617-8367941D32AF}" dt="2023-09-07T18:22:30.117" v="1251" actId="20577"/>
        <pc:sldMkLst>
          <pc:docMk/>
          <pc:sldMk cId="4270848246" sldId="2147470560"/>
        </pc:sldMkLst>
        <pc:spChg chg="mod">
          <ac:chgData name="Dwayne Natwick" userId="d11f0013982d5c78" providerId="Windows Live" clId="Web-{BADFC5F9-7469-4C33-B617-8367941D32AF}" dt="2023-09-07T18:21:33.475" v="1235" actId="20577"/>
          <ac:spMkLst>
            <pc:docMk/>
            <pc:sldMk cId="4270848246" sldId="2147470560"/>
            <ac:spMk id="12" creationId="{365BE44E-89D5-8293-A3E1-4536B5D3B526}"/>
          </ac:spMkLst>
        </pc:spChg>
        <pc:spChg chg="mod">
          <ac:chgData name="Dwayne Natwick" userId="d11f0013982d5c78" providerId="Windows Live" clId="Web-{BADFC5F9-7469-4C33-B617-8367941D32AF}" dt="2023-09-07T18:21:50.600" v="1241" actId="20577"/>
          <ac:spMkLst>
            <pc:docMk/>
            <pc:sldMk cId="4270848246" sldId="2147470560"/>
            <ac:spMk id="18" creationId="{7D66421A-6C08-23BB-D770-A2A0FF91DD1C}"/>
          </ac:spMkLst>
        </pc:spChg>
        <pc:spChg chg="mod">
          <ac:chgData name="Dwayne Natwick" userId="d11f0013982d5c78" providerId="Windows Live" clId="Web-{BADFC5F9-7469-4C33-B617-8367941D32AF}" dt="2023-09-07T18:21:46.991" v="1239" actId="20577"/>
          <ac:spMkLst>
            <pc:docMk/>
            <pc:sldMk cId="4270848246" sldId="2147470560"/>
            <ac:spMk id="21" creationId="{87ACA6E9-9681-99AA-65E6-65303BA5F10F}"/>
          </ac:spMkLst>
        </pc:spChg>
        <pc:spChg chg="mod">
          <ac:chgData name="Dwayne Natwick" userId="d11f0013982d5c78" providerId="Windows Live" clId="Web-{BADFC5F9-7469-4C33-B617-8367941D32AF}" dt="2023-09-07T18:22:05.835" v="1244" actId="20577"/>
          <ac:spMkLst>
            <pc:docMk/>
            <pc:sldMk cId="4270848246" sldId="2147470560"/>
            <ac:spMk id="24" creationId="{86B4A3BC-B5A8-2BE0-1133-3BA9CB7EDFAB}"/>
          </ac:spMkLst>
        </pc:spChg>
        <pc:spChg chg="mod">
          <ac:chgData name="Dwayne Natwick" userId="d11f0013982d5c78" providerId="Windows Live" clId="Web-{BADFC5F9-7469-4C33-B617-8367941D32AF}" dt="2023-09-07T18:22:19.195" v="1247" actId="20577"/>
          <ac:spMkLst>
            <pc:docMk/>
            <pc:sldMk cId="4270848246" sldId="2147470560"/>
            <ac:spMk id="27" creationId="{9ADD736A-323E-6575-0C10-C5BD32DE5235}"/>
          </ac:spMkLst>
        </pc:spChg>
        <pc:spChg chg="mod">
          <ac:chgData name="Dwayne Natwick" userId="d11f0013982d5c78" providerId="Windows Live" clId="Web-{BADFC5F9-7469-4C33-B617-8367941D32AF}" dt="2023-09-07T18:22:30.117" v="1251" actId="20577"/>
          <ac:spMkLst>
            <pc:docMk/>
            <pc:sldMk cId="4270848246" sldId="2147470560"/>
            <ac:spMk id="30" creationId="{3DB7542E-ADDB-131A-48BF-8DE17592FCF3}"/>
          </ac:spMkLst>
        </pc:spChg>
      </pc:sldChg>
      <pc:sldChg chg="add del">
        <pc:chgData name="Dwayne Natwick" userId="d11f0013982d5c78" providerId="Windows Live" clId="Web-{BADFC5F9-7469-4C33-B617-8367941D32AF}" dt="2023-09-07T18:46:39.011" v="1782"/>
        <pc:sldMkLst>
          <pc:docMk/>
          <pc:sldMk cId="3093469809" sldId="2147470561"/>
        </pc:sldMkLst>
      </pc:sldChg>
      <pc:sldChg chg="add del">
        <pc:chgData name="Dwayne Natwick" userId="d11f0013982d5c78" providerId="Windows Live" clId="Web-{BADFC5F9-7469-4C33-B617-8367941D32AF}" dt="2023-09-07T18:46:39.011" v="1783"/>
        <pc:sldMkLst>
          <pc:docMk/>
          <pc:sldMk cId="2504118955" sldId="2147470562"/>
        </pc:sldMkLst>
      </pc:sldChg>
      <pc:sldChg chg="add del">
        <pc:chgData name="Dwayne Natwick" userId="d11f0013982d5c78" providerId="Windows Live" clId="Web-{BADFC5F9-7469-4C33-B617-8367941D32AF}" dt="2023-09-07T18:46:39.027" v="1784"/>
        <pc:sldMkLst>
          <pc:docMk/>
          <pc:sldMk cId="2164269255" sldId="2147470563"/>
        </pc:sldMkLst>
      </pc:sldChg>
      <pc:sldChg chg="modSp add del modNotes">
        <pc:chgData name="Dwayne Natwick" userId="d11f0013982d5c78" providerId="Windows Live" clId="Web-{BADFC5F9-7469-4C33-B617-8367941D32AF}" dt="2023-09-07T18:49:33.046" v="1794"/>
        <pc:sldMkLst>
          <pc:docMk/>
          <pc:sldMk cId="3644458694" sldId="2147470564"/>
        </pc:sldMkLst>
        <pc:spChg chg="mod">
          <ac:chgData name="Dwayne Natwick" userId="d11f0013982d5c78" providerId="Windows Live" clId="Web-{BADFC5F9-7469-4C33-B617-8367941D32AF}" dt="2023-09-07T18:18:48.705" v="1095" actId="20577"/>
          <ac:spMkLst>
            <pc:docMk/>
            <pc:sldMk cId="3644458694" sldId="2147470564"/>
            <ac:spMk id="167" creationId="{D5F5558B-707E-639D-6D0D-A1F550396012}"/>
          </ac:spMkLst>
        </pc:spChg>
        <pc:spChg chg="mod">
          <ac:chgData name="Dwayne Natwick" userId="d11f0013982d5c78" providerId="Windows Live" clId="Web-{BADFC5F9-7469-4C33-B617-8367941D32AF}" dt="2023-09-07T18:18:55.627" v="1096"/>
          <ac:spMkLst>
            <pc:docMk/>
            <pc:sldMk cId="3644458694" sldId="2147470564"/>
            <ac:spMk id="169" creationId="{17D5A210-8383-0BEC-DB4C-8AA2EC9BF961}"/>
          </ac:spMkLst>
        </pc:spChg>
        <pc:spChg chg="mod">
          <ac:chgData name="Dwayne Natwick" userId="d11f0013982d5c78" providerId="Windows Live" clId="Web-{BADFC5F9-7469-4C33-B617-8367941D32AF}" dt="2023-09-07T18:19:19.409" v="1124" actId="20577"/>
          <ac:spMkLst>
            <pc:docMk/>
            <pc:sldMk cId="3644458694" sldId="2147470564"/>
            <ac:spMk id="173" creationId="{C0632E7C-0241-61E1-D3F4-FCB185277595}"/>
          </ac:spMkLst>
        </pc:spChg>
        <pc:spChg chg="mod">
          <ac:chgData name="Dwayne Natwick" userId="d11f0013982d5c78" providerId="Windows Live" clId="Web-{BADFC5F9-7469-4C33-B617-8367941D32AF}" dt="2023-09-07T18:19:46.988" v="1153" actId="20577"/>
          <ac:spMkLst>
            <pc:docMk/>
            <pc:sldMk cId="3644458694" sldId="2147470564"/>
            <ac:spMk id="181" creationId="{C01E1DF7-AFB3-BF3D-96A2-20CDD0FB59FE}"/>
          </ac:spMkLst>
        </pc:spChg>
        <pc:spChg chg="mod">
          <ac:chgData name="Dwayne Natwick" userId="d11f0013982d5c78" providerId="Windows Live" clId="Web-{BADFC5F9-7469-4C33-B617-8367941D32AF}" dt="2023-09-07T18:20:12.442" v="1180" actId="20577"/>
          <ac:spMkLst>
            <pc:docMk/>
            <pc:sldMk cId="3644458694" sldId="2147470564"/>
            <ac:spMk id="185" creationId="{7CA9D89B-B694-6F39-9E6F-1CA0F13592F6}"/>
          </ac:spMkLst>
        </pc:spChg>
        <pc:spChg chg="mod">
          <ac:chgData name="Dwayne Natwick" userId="d11f0013982d5c78" providerId="Windows Live" clId="Web-{BADFC5F9-7469-4C33-B617-8367941D32AF}" dt="2023-09-07T18:20:41.474" v="1208" actId="20577"/>
          <ac:spMkLst>
            <pc:docMk/>
            <pc:sldMk cId="3644458694" sldId="2147470564"/>
            <ac:spMk id="186" creationId="{2C77C621-8B24-9C01-BABF-AEA4AF1AAF56}"/>
          </ac:spMkLst>
        </pc:spChg>
        <pc:spChg chg="mod">
          <ac:chgData name="Dwayne Natwick" userId="d11f0013982d5c78" providerId="Windows Live" clId="Web-{BADFC5F9-7469-4C33-B617-8367941D32AF}" dt="2023-09-07T18:21:15.084" v="1232" actId="20577"/>
          <ac:spMkLst>
            <pc:docMk/>
            <pc:sldMk cId="3644458694" sldId="2147470564"/>
            <ac:spMk id="190" creationId="{8C2E0BB3-B0A3-DD4D-435A-54DA558FC4BD}"/>
          </ac:spMkLst>
        </pc:spChg>
      </pc:sldChg>
      <pc:sldChg chg="modSp add modNotes">
        <pc:chgData name="Dwayne Natwick" userId="d11f0013982d5c78" providerId="Windows Live" clId="Web-{BADFC5F9-7469-4C33-B617-8367941D32AF}" dt="2023-09-07T18:49:21.171" v="1792"/>
        <pc:sldMkLst>
          <pc:docMk/>
          <pc:sldMk cId="2739312586" sldId="2147470565"/>
        </pc:sldMkLst>
        <pc:spChg chg="mod">
          <ac:chgData name="Dwayne Natwick" userId="d11f0013982d5c78" providerId="Windows Live" clId="Web-{BADFC5F9-7469-4C33-B617-8367941D32AF}" dt="2023-09-07T18:18:11.814" v="1064"/>
          <ac:spMkLst>
            <pc:docMk/>
            <pc:sldMk cId="2739312586" sldId="2147470565"/>
            <ac:spMk id="4" creationId="{DAA5FD98-5292-2367-63BF-BB583BFC2A96}"/>
          </ac:spMkLst>
        </pc:spChg>
      </pc:sldChg>
      <pc:sldChg chg="delSp modSp add">
        <pc:chgData name="Dwayne Natwick" userId="d11f0013982d5c78" providerId="Windows Live" clId="Web-{BADFC5F9-7469-4C33-B617-8367941D32AF}" dt="2023-09-07T18:41:29.691" v="1559" actId="14100"/>
        <pc:sldMkLst>
          <pc:docMk/>
          <pc:sldMk cId="1307574574" sldId="2147470566"/>
        </pc:sldMkLst>
        <pc:spChg chg="mod">
          <ac:chgData name="Dwayne Natwick" userId="d11f0013982d5c78" providerId="Windows Live" clId="Web-{BADFC5F9-7469-4C33-B617-8367941D32AF}" dt="2023-09-07T18:41:29.691" v="1559" actId="14100"/>
          <ac:spMkLst>
            <pc:docMk/>
            <pc:sldMk cId="1307574574" sldId="2147470566"/>
            <ac:spMk id="10" creationId="{1E98F374-AEB3-0659-95E2-34C88EF9BD14}"/>
          </ac:spMkLst>
        </pc:spChg>
        <pc:spChg chg="mod">
          <ac:chgData name="Dwayne Natwick" userId="d11f0013982d5c78" providerId="Windows Live" clId="Web-{BADFC5F9-7469-4C33-B617-8367941D32AF}" dt="2023-09-07T18:34:19.524" v="1526" actId="20577"/>
          <ac:spMkLst>
            <pc:docMk/>
            <pc:sldMk cId="1307574574" sldId="2147470566"/>
            <ac:spMk id="18" creationId="{7D66421A-6C08-23BB-D770-A2A0FF91DD1C}"/>
          </ac:spMkLst>
        </pc:spChg>
        <pc:spChg chg="mod">
          <ac:chgData name="Dwayne Natwick" userId="d11f0013982d5c78" providerId="Windows Live" clId="Web-{BADFC5F9-7469-4C33-B617-8367941D32AF}" dt="2023-09-07T18:34:46.650" v="1538" actId="20577"/>
          <ac:spMkLst>
            <pc:docMk/>
            <pc:sldMk cId="1307574574" sldId="2147470566"/>
            <ac:spMk id="21" creationId="{87ACA6E9-9681-99AA-65E6-65303BA5F10F}"/>
          </ac:spMkLst>
        </pc:spChg>
        <pc:spChg chg="mod">
          <ac:chgData name="Dwayne Natwick" userId="d11f0013982d5c78" providerId="Windows Live" clId="Web-{BADFC5F9-7469-4C33-B617-8367941D32AF}" dt="2023-09-07T18:35:11.166" v="1542" actId="20577"/>
          <ac:spMkLst>
            <pc:docMk/>
            <pc:sldMk cId="1307574574" sldId="2147470566"/>
            <ac:spMk id="24" creationId="{86B4A3BC-B5A8-2BE0-1133-3BA9CB7EDFAB}"/>
          </ac:spMkLst>
        </pc:spChg>
        <pc:spChg chg="mod">
          <ac:chgData name="Dwayne Natwick" userId="d11f0013982d5c78" providerId="Windows Live" clId="Web-{BADFC5F9-7469-4C33-B617-8367941D32AF}" dt="2023-09-07T18:35:28.432" v="1545" actId="20577"/>
          <ac:spMkLst>
            <pc:docMk/>
            <pc:sldMk cId="1307574574" sldId="2147470566"/>
            <ac:spMk id="27" creationId="{9ADD736A-323E-6575-0C10-C5BD32DE5235}"/>
          </ac:spMkLst>
        </pc:spChg>
        <pc:spChg chg="mod">
          <ac:chgData name="Dwayne Natwick" userId="d11f0013982d5c78" providerId="Windows Live" clId="Web-{BADFC5F9-7469-4C33-B617-8367941D32AF}" dt="2023-09-07T18:35:31.198" v="1546" actId="20577"/>
          <ac:spMkLst>
            <pc:docMk/>
            <pc:sldMk cId="1307574574" sldId="2147470566"/>
            <ac:spMk id="30" creationId="{3DB7542E-ADDB-131A-48BF-8DE17592FCF3}"/>
          </ac:spMkLst>
        </pc:spChg>
        <pc:grpChg chg="mod">
          <ac:chgData name="Dwayne Natwick" userId="d11f0013982d5c78" providerId="Windows Live" clId="Web-{BADFC5F9-7469-4C33-B617-8367941D32AF}" dt="2023-09-07T18:35:45.651" v="1548" actId="1076"/>
          <ac:grpSpMkLst>
            <pc:docMk/>
            <pc:sldMk cId="1307574574" sldId="2147470566"/>
            <ac:grpSpMk id="20" creationId="{A36623D1-3D23-0F58-776F-2F2922A3B9F7}"/>
          </ac:grpSpMkLst>
        </pc:grpChg>
        <pc:grpChg chg="del">
          <ac:chgData name="Dwayne Natwick" userId="d11f0013982d5c78" providerId="Windows Live" clId="Web-{BADFC5F9-7469-4C33-B617-8367941D32AF}" dt="2023-09-07T18:35:33.886" v="1547"/>
          <ac:grpSpMkLst>
            <pc:docMk/>
            <pc:sldMk cId="1307574574" sldId="2147470566"/>
            <ac:grpSpMk id="29" creationId="{9481AA04-0DDB-A3FD-ED50-47E2C2A045A3}"/>
          </ac:grpSpMkLst>
        </pc:grpChg>
      </pc:sldChg>
      <pc:sldChg chg="add del">
        <pc:chgData name="Dwayne Natwick" userId="d11f0013982d5c78" providerId="Windows Live" clId="Web-{BADFC5F9-7469-4C33-B617-8367941D32AF}" dt="2023-09-07T18:48:13.716" v="1787"/>
        <pc:sldMkLst>
          <pc:docMk/>
          <pc:sldMk cId="59137773" sldId="2147470567"/>
        </pc:sldMkLst>
      </pc:sldChg>
      <pc:sldChg chg="add del">
        <pc:chgData name="Dwayne Natwick" userId="d11f0013982d5c78" providerId="Windows Live" clId="Web-{BADFC5F9-7469-4C33-B617-8367941D32AF}" dt="2023-09-07T18:48:13.732" v="1788"/>
        <pc:sldMkLst>
          <pc:docMk/>
          <pc:sldMk cId="3161884628" sldId="2147470568"/>
        </pc:sldMkLst>
      </pc:sldChg>
      <pc:sldChg chg="add del">
        <pc:chgData name="Dwayne Natwick" userId="d11f0013982d5c78" providerId="Windows Live" clId="Web-{BADFC5F9-7469-4C33-B617-8367941D32AF}" dt="2023-09-07T18:48:13.732" v="1789"/>
        <pc:sldMkLst>
          <pc:docMk/>
          <pc:sldMk cId="700103724" sldId="2147470569"/>
        </pc:sldMkLst>
      </pc:sldChg>
      <pc:sldChg chg="add del">
        <pc:chgData name="Dwayne Natwick" userId="d11f0013982d5c78" providerId="Windows Live" clId="Web-{BADFC5F9-7469-4C33-B617-8367941D32AF}" dt="2023-09-07T18:26:28.951" v="1427"/>
        <pc:sldMkLst>
          <pc:docMk/>
          <pc:sldMk cId="4003279507" sldId="2147470570"/>
        </pc:sldMkLst>
      </pc:sldChg>
      <pc:sldChg chg="modSp add modNotes">
        <pc:chgData name="Dwayne Natwick" userId="d11f0013982d5c78" providerId="Windows Live" clId="Web-{BADFC5F9-7469-4C33-B617-8367941D32AF}" dt="2023-09-07T18:49:40.953" v="1795"/>
        <pc:sldMkLst>
          <pc:docMk/>
          <pc:sldMk cId="2251723249" sldId="2147470571"/>
        </pc:sldMkLst>
        <pc:spChg chg="mod">
          <ac:chgData name="Dwayne Natwick" userId="d11f0013982d5c78" providerId="Windows Live" clId="Web-{BADFC5F9-7469-4C33-B617-8367941D32AF}" dt="2023-09-07T18:23:34.368" v="1300" actId="20577"/>
          <ac:spMkLst>
            <pc:docMk/>
            <pc:sldMk cId="2251723249" sldId="2147470571"/>
            <ac:spMk id="4" creationId="{DAA5FD98-5292-2367-63BF-BB583BFC2A96}"/>
          </ac:spMkLst>
        </pc:spChg>
      </pc:sldChg>
      <pc:sldChg chg="delSp modSp add ord modNotes">
        <pc:chgData name="Dwayne Natwick" userId="d11f0013982d5c78" providerId="Windows Live" clId="Web-{BADFC5F9-7469-4C33-B617-8367941D32AF}" dt="2023-09-07T18:33:57.524" v="1517" actId="1076"/>
        <pc:sldMkLst>
          <pc:docMk/>
          <pc:sldMk cId="1259147145" sldId="2147470572"/>
        </pc:sldMkLst>
        <pc:spChg chg="del">
          <ac:chgData name="Dwayne Natwick" userId="d11f0013982d5c78" providerId="Windows Live" clId="Web-{BADFC5F9-7469-4C33-B617-8367941D32AF}" dt="2023-09-07T18:33:36.898" v="1510"/>
          <ac:spMkLst>
            <pc:docMk/>
            <pc:sldMk cId="1259147145" sldId="2147470572"/>
            <ac:spMk id="5" creationId="{AB45EF00-1FA1-F95D-F863-D9901C25F663}"/>
          </ac:spMkLst>
        </pc:spChg>
        <pc:spChg chg="del">
          <ac:chgData name="Dwayne Natwick" userId="d11f0013982d5c78" providerId="Windows Live" clId="Web-{BADFC5F9-7469-4C33-B617-8367941D32AF}" dt="2023-09-07T18:33:36.898" v="1509"/>
          <ac:spMkLst>
            <pc:docMk/>
            <pc:sldMk cId="1259147145" sldId="2147470572"/>
            <ac:spMk id="6" creationId="{F7B2730C-6398-44C6-A285-D206E7539CB0}"/>
          </ac:spMkLst>
        </pc:spChg>
        <pc:spChg chg="mod">
          <ac:chgData name="Dwayne Natwick" userId="d11f0013982d5c78" providerId="Windows Live" clId="Web-{BADFC5F9-7469-4C33-B617-8367941D32AF}" dt="2023-09-07T18:25:55.215" v="1423" actId="20577"/>
          <ac:spMkLst>
            <pc:docMk/>
            <pc:sldMk cId="1259147145" sldId="2147470572"/>
            <ac:spMk id="21" creationId="{68C8CFE1-65AB-E14A-D550-F9CC1A93CFC5}"/>
          </ac:spMkLst>
        </pc:spChg>
        <pc:spChg chg="mod">
          <ac:chgData name="Dwayne Natwick" userId="d11f0013982d5c78" providerId="Windows Live" clId="Web-{BADFC5F9-7469-4C33-B617-8367941D32AF}" dt="2023-09-07T18:24:30.041" v="1302" actId="20577"/>
          <ac:spMkLst>
            <pc:docMk/>
            <pc:sldMk cId="1259147145" sldId="2147470572"/>
            <ac:spMk id="23" creationId="{9DA05131-6770-3582-BD7D-A41220780897}"/>
          </ac:spMkLst>
        </pc:spChg>
        <pc:spChg chg="mod">
          <ac:chgData name="Dwayne Natwick" userId="d11f0013982d5c78" providerId="Windows Live" clId="Web-{BADFC5F9-7469-4C33-B617-8367941D32AF}" dt="2023-09-07T18:27:24.936" v="1433" actId="20577"/>
          <ac:spMkLst>
            <pc:docMk/>
            <pc:sldMk cId="1259147145" sldId="2147470572"/>
            <ac:spMk id="27" creationId="{2110CA23-E319-B299-E485-6F98BFAFC1EC}"/>
          </ac:spMkLst>
        </pc:spChg>
        <pc:spChg chg="mod">
          <ac:chgData name="Dwayne Natwick" userId="d11f0013982d5c78" providerId="Windows Live" clId="Web-{BADFC5F9-7469-4C33-B617-8367941D32AF}" dt="2023-09-07T18:27:22.514" v="1432" actId="20577"/>
          <ac:spMkLst>
            <pc:docMk/>
            <pc:sldMk cId="1259147145" sldId="2147470572"/>
            <ac:spMk id="28" creationId="{0A250D4B-4C44-4636-CA86-49CB47665514}"/>
          </ac:spMkLst>
        </pc:spChg>
        <pc:spChg chg="mod">
          <ac:chgData name="Dwayne Natwick" userId="d11f0013982d5c78" providerId="Windows Live" clId="Web-{BADFC5F9-7469-4C33-B617-8367941D32AF}" dt="2023-09-07T18:33:31.211" v="1508" actId="20577"/>
          <ac:spMkLst>
            <pc:docMk/>
            <pc:sldMk cId="1259147145" sldId="2147470572"/>
            <ac:spMk id="32" creationId="{93C8FB2B-8EDA-992B-5C01-296093DB1125}"/>
          </ac:spMkLst>
        </pc:spChg>
        <pc:spChg chg="del mod">
          <ac:chgData name="Dwayne Natwick" userId="d11f0013982d5c78" providerId="Windows Live" clId="Web-{BADFC5F9-7469-4C33-B617-8367941D32AF}" dt="2023-09-07T18:33:44.117" v="1514"/>
          <ac:spMkLst>
            <pc:docMk/>
            <pc:sldMk cId="1259147145" sldId="2147470572"/>
            <ac:spMk id="36" creationId="{3A0A3735-C114-E83A-76A1-BD992865B7E6}"/>
          </ac:spMkLst>
        </pc:spChg>
        <pc:spChg chg="del mod">
          <ac:chgData name="Dwayne Natwick" userId="d11f0013982d5c78" providerId="Windows Live" clId="Web-{BADFC5F9-7469-4C33-B617-8367941D32AF}" dt="2023-09-07T18:33:41.414" v="1513"/>
          <ac:spMkLst>
            <pc:docMk/>
            <pc:sldMk cId="1259147145" sldId="2147470572"/>
            <ac:spMk id="40" creationId="{A88F3369-17EB-9EF5-A3F3-A951AC048B83}"/>
          </ac:spMkLst>
        </pc:spChg>
        <pc:spChg chg="mod">
          <ac:chgData name="Dwayne Natwick" userId="d11f0013982d5c78" providerId="Windows Live" clId="Web-{BADFC5F9-7469-4C33-B617-8367941D32AF}" dt="2023-09-07T18:33:57.524" v="1517" actId="1076"/>
          <ac:spMkLst>
            <pc:docMk/>
            <pc:sldMk cId="1259147145" sldId="2147470572"/>
            <ac:spMk id="45" creationId="{5FC56D04-6461-7BEE-637B-221EBDD72AB4}"/>
          </ac:spMkLst>
        </pc:spChg>
        <pc:spChg chg="mod">
          <ac:chgData name="Dwayne Natwick" userId="d11f0013982d5c78" providerId="Windows Live" clId="Web-{BADFC5F9-7469-4C33-B617-8367941D32AF}" dt="2023-09-07T18:33:57.493" v="1515" actId="1076"/>
          <ac:spMkLst>
            <pc:docMk/>
            <pc:sldMk cId="1259147145" sldId="2147470572"/>
            <ac:spMk id="56" creationId="{87C697D9-D5F1-EBDD-81F9-D4CB7DC374D4}"/>
          </ac:spMkLst>
        </pc:spChg>
        <pc:grpChg chg="del">
          <ac:chgData name="Dwayne Natwick" userId="d11f0013982d5c78" providerId="Windows Live" clId="Web-{BADFC5F9-7469-4C33-B617-8367941D32AF}" dt="2023-09-07T18:33:36.898" v="1511"/>
          <ac:grpSpMkLst>
            <pc:docMk/>
            <pc:sldMk cId="1259147145" sldId="2147470572"/>
            <ac:grpSpMk id="37" creationId="{03D53F7E-A80A-B713-205C-8B0DC3DD6DAC}"/>
          </ac:grpSpMkLst>
        </pc:grpChg>
        <pc:grpChg chg="del">
          <ac:chgData name="Dwayne Natwick" userId="d11f0013982d5c78" providerId="Windows Live" clId="Web-{BADFC5F9-7469-4C33-B617-8367941D32AF}" dt="2023-09-07T18:33:41.414" v="1512"/>
          <ac:grpSpMkLst>
            <pc:docMk/>
            <pc:sldMk cId="1259147145" sldId="2147470572"/>
            <ac:grpSpMk id="41" creationId="{9252A0C6-63FA-BA5A-4969-881191D38BC5}"/>
          </ac:grpSpMkLst>
        </pc:grpChg>
        <pc:grpChg chg="mod">
          <ac:chgData name="Dwayne Natwick" userId="d11f0013982d5c78" providerId="Windows Live" clId="Web-{BADFC5F9-7469-4C33-B617-8367941D32AF}" dt="2023-09-07T18:33:57.508" v="1516" actId="1076"/>
          <ac:grpSpMkLst>
            <pc:docMk/>
            <pc:sldMk cId="1259147145" sldId="2147470572"/>
            <ac:grpSpMk id="57" creationId="{22EDF683-B51C-3712-6AC1-59A383F3DB66}"/>
          </ac:grpSpMkLst>
        </pc:grpChg>
      </pc:sldChg>
      <pc:sldChg chg="addSp modSp new mod modClrScheme chgLayout modNotes">
        <pc:chgData name="Dwayne Natwick" userId="d11f0013982d5c78" providerId="Windows Live" clId="Web-{BADFC5F9-7469-4C33-B617-8367941D32AF}" dt="2023-09-07T18:41:55.504" v="1571" actId="20577"/>
        <pc:sldMkLst>
          <pc:docMk/>
          <pc:sldMk cId="948136224" sldId="2147470573"/>
        </pc:sldMkLst>
        <pc:spChg chg="mod ord">
          <ac:chgData name="Dwayne Natwick" userId="d11f0013982d5c78" providerId="Windows Live" clId="Web-{BADFC5F9-7469-4C33-B617-8367941D32AF}" dt="2023-09-07T18:41:55.504" v="1571" actId="20577"/>
          <ac:spMkLst>
            <pc:docMk/>
            <pc:sldMk cId="948136224" sldId="2147470573"/>
            <ac:spMk id="2" creationId="{9818A146-7202-24EA-7B4D-99C422D5DB3F}"/>
          </ac:spMkLst>
        </pc:spChg>
        <pc:spChg chg="add mod ord">
          <ac:chgData name="Dwayne Natwick" userId="d11f0013982d5c78" providerId="Windows Live" clId="Web-{BADFC5F9-7469-4C33-B617-8367941D32AF}" dt="2023-09-07T18:36:20.762" v="1550"/>
          <ac:spMkLst>
            <pc:docMk/>
            <pc:sldMk cId="948136224" sldId="2147470573"/>
            <ac:spMk id="3" creationId="{8810F879-0D52-6206-A283-CE7E0B7E3C5D}"/>
          </ac:spMkLst>
        </pc:spChg>
      </pc:sldChg>
      <pc:sldChg chg="modSp add replId">
        <pc:chgData name="Dwayne Natwick" userId="d11f0013982d5c78" providerId="Windows Live" clId="Web-{BADFC5F9-7469-4C33-B617-8367941D32AF}" dt="2023-09-07T18:42:24.255" v="1604" actId="20577"/>
        <pc:sldMkLst>
          <pc:docMk/>
          <pc:sldMk cId="2030514790" sldId="2147470574"/>
        </pc:sldMkLst>
        <pc:spChg chg="mod">
          <ac:chgData name="Dwayne Natwick" userId="d11f0013982d5c78" providerId="Windows Live" clId="Web-{BADFC5F9-7469-4C33-B617-8367941D32AF}" dt="2023-09-07T18:42:24.255" v="1604" actId="20577"/>
          <ac:spMkLst>
            <pc:docMk/>
            <pc:sldMk cId="2030514790" sldId="2147470574"/>
            <ac:spMk id="2" creationId="{9818A146-7202-24EA-7B4D-99C422D5DB3F}"/>
          </ac:spMkLst>
        </pc:spChg>
      </pc:sldChg>
      <pc:sldChg chg="modSp new">
        <pc:chgData name="Dwayne Natwick" userId="d11f0013982d5c78" providerId="Windows Live" clId="Web-{BADFC5F9-7469-4C33-B617-8367941D32AF}" dt="2023-09-07T18:42:44.208" v="1617" actId="20577"/>
        <pc:sldMkLst>
          <pc:docMk/>
          <pc:sldMk cId="3649936595" sldId="2147470575"/>
        </pc:sldMkLst>
        <pc:spChg chg="mod">
          <ac:chgData name="Dwayne Natwick" userId="d11f0013982d5c78" providerId="Windows Live" clId="Web-{BADFC5F9-7469-4C33-B617-8367941D32AF}" dt="2023-09-07T18:42:44.208" v="1617" actId="20577"/>
          <ac:spMkLst>
            <pc:docMk/>
            <pc:sldMk cId="3649936595" sldId="2147470575"/>
            <ac:spMk id="2" creationId="{8839F5C4-843E-DBAD-044B-1872C9832914}"/>
          </ac:spMkLst>
        </pc:spChg>
      </pc:sldChg>
      <pc:sldChg chg="modSp new">
        <pc:chgData name="Dwayne Natwick" userId="d11f0013982d5c78" providerId="Windows Live" clId="Web-{BADFC5F9-7469-4C33-B617-8367941D32AF}" dt="2023-09-07T18:43:02.256" v="1642" actId="20577"/>
        <pc:sldMkLst>
          <pc:docMk/>
          <pc:sldMk cId="511214272" sldId="2147470576"/>
        </pc:sldMkLst>
        <pc:spChg chg="mod">
          <ac:chgData name="Dwayne Natwick" userId="d11f0013982d5c78" providerId="Windows Live" clId="Web-{BADFC5F9-7469-4C33-B617-8367941D32AF}" dt="2023-09-07T18:43:02.256" v="1642" actId="20577"/>
          <ac:spMkLst>
            <pc:docMk/>
            <pc:sldMk cId="511214272" sldId="2147470576"/>
            <ac:spMk id="2" creationId="{9991B069-6AF3-7B68-6726-099657220172}"/>
          </ac:spMkLst>
        </pc:spChg>
      </pc:sldChg>
      <pc:sldChg chg="modSp new">
        <pc:chgData name="Dwayne Natwick" userId="d11f0013982d5c78" providerId="Windows Live" clId="Web-{BADFC5F9-7469-4C33-B617-8367941D32AF}" dt="2023-09-07T18:43:21.881" v="1662" actId="20577"/>
        <pc:sldMkLst>
          <pc:docMk/>
          <pc:sldMk cId="4196600117" sldId="2147470577"/>
        </pc:sldMkLst>
        <pc:spChg chg="mod">
          <ac:chgData name="Dwayne Natwick" userId="d11f0013982d5c78" providerId="Windows Live" clId="Web-{BADFC5F9-7469-4C33-B617-8367941D32AF}" dt="2023-09-07T18:43:21.881" v="1662" actId="20577"/>
          <ac:spMkLst>
            <pc:docMk/>
            <pc:sldMk cId="4196600117" sldId="2147470577"/>
            <ac:spMk id="2" creationId="{E3FFC35A-DEE7-5F87-B579-666027F7AA8A}"/>
          </ac:spMkLst>
        </pc:spChg>
      </pc:sldChg>
      <pc:sldChg chg="modSp new">
        <pc:chgData name="Dwayne Natwick" userId="d11f0013982d5c78" providerId="Windows Live" clId="Web-{BADFC5F9-7469-4C33-B617-8367941D32AF}" dt="2023-09-07T18:44:18.289" v="1716" actId="20577"/>
        <pc:sldMkLst>
          <pc:docMk/>
          <pc:sldMk cId="1593797140" sldId="2147470578"/>
        </pc:sldMkLst>
        <pc:spChg chg="mod">
          <ac:chgData name="Dwayne Natwick" userId="d11f0013982d5c78" providerId="Windows Live" clId="Web-{BADFC5F9-7469-4C33-B617-8367941D32AF}" dt="2023-09-07T18:44:18.289" v="1716" actId="20577"/>
          <ac:spMkLst>
            <pc:docMk/>
            <pc:sldMk cId="1593797140" sldId="2147470578"/>
            <ac:spMk id="2" creationId="{4B4265E9-9755-13A6-D1C8-681FCFAFDB05}"/>
          </ac:spMkLst>
        </pc:spChg>
      </pc:sldChg>
      <pc:sldChg chg="modSp new">
        <pc:chgData name="Dwayne Natwick" userId="d11f0013982d5c78" providerId="Windows Live" clId="Web-{BADFC5F9-7469-4C33-B617-8367941D32AF}" dt="2023-09-07T18:43:47.444" v="1687" actId="20577"/>
        <pc:sldMkLst>
          <pc:docMk/>
          <pc:sldMk cId="90178162" sldId="2147470579"/>
        </pc:sldMkLst>
        <pc:spChg chg="mod">
          <ac:chgData name="Dwayne Natwick" userId="d11f0013982d5c78" providerId="Windows Live" clId="Web-{BADFC5F9-7469-4C33-B617-8367941D32AF}" dt="2023-09-07T18:43:47.444" v="1687" actId="20577"/>
          <ac:spMkLst>
            <pc:docMk/>
            <pc:sldMk cId="90178162" sldId="2147470579"/>
            <ac:spMk id="2" creationId="{CCEE8F8E-8AB3-8B85-39AE-98837F46EC4B}"/>
          </ac:spMkLst>
        </pc:spChg>
      </pc:sldChg>
      <pc:sldChg chg="modSp new">
        <pc:chgData name="Dwayne Natwick" userId="d11f0013982d5c78" providerId="Windows Live" clId="Web-{BADFC5F9-7469-4C33-B617-8367941D32AF}" dt="2023-09-07T18:44:00.507" v="1703" actId="20577"/>
        <pc:sldMkLst>
          <pc:docMk/>
          <pc:sldMk cId="1437570267" sldId="2147470580"/>
        </pc:sldMkLst>
        <pc:spChg chg="mod">
          <ac:chgData name="Dwayne Natwick" userId="d11f0013982d5c78" providerId="Windows Live" clId="Web-{BADFC5F9-7469-4C33-B617-8367941D32AF}" dt="2023-09-07T18:44:00.507" v="1703" actId="20577"/>
          <ac:spMkLst>
            <pc:docMk/>
            <pc:sldMk cId="1437570267" sldId="2147470580"/>
            <ac:spMk id="2" creationId="{7B3A1FEB-4EBD-088C-B102-3A5E0A53F311}"/>
          </ac:spMkLst>
        </pc:spChg>
      </pc:sldChg>
      <pc:sldChg chg="modSp new">
        <pc:chgData name="Dwayne Natwick" userId="d11f0013982d5c78" providerId="Windows Live" clId="Web-{BADFC5F9-7469-4C33-B617-8367941D32AF}" dt="2023-09-07T18:44:34.945" v="1730" actId="20577"/>
        <pc:sldMkLst>
          <pc:docMk/>
          <pc:sldMk cId="1083283128" sldId="2147470581"/>
        </pc:sldMkLst>
        <pc:spChg chg="mod">
          <ac:chgData name="Dwayne Natwick" userId="d11f0013982d5c78" providerId="Windows Live" clId="Web-{BADFC5F9-7469-4C33-B617-8367941D32AF}" dt="2023-09-07T18:44:34.945" v="1730" actId="20577"/>
          <ac:spMkLst>
            <pc:docMk/>
            <pc:sldMk cId="1083283128" sldId="2147470581"/>
            <ac:spMk id="2" creationId="{31D6B115-54CA-49B3-1D91-C2B049F34ED1}"/>
          </ac:spMkLst>
        </pc:spChg>
      </pc:sldChg>
      <pc:sldChg chg="modSp new">
        <pc:chgData name="Dwayne Natwick" userId="d11f0013982d5c78" providerId="Windows Live" clId="Web-{BADFC5F9-7469-4C33-B617-8367941D32AF}" dt="2023-09-07T18:46:29.104" v="1781" actId="20577"/>
        <pc:sldMkLst>
          <pc:docMk/>
          <pc:sldMk cId="3763189814" sldId="2147470582"/>
        </pc:sldMkLst>
        <pc:spChg chg="mod">
          <ac:chgData name="Dwayne Natwick" userId="d11f0013982d5c78" providerId="Windows Live" clId="Web-{BADFC5F9-7469-4C33-B617-8367941D32AF}" dt="2023-09-07T18:45:46.932" v="1734" actId="20577"/>
          <ac:spMkLst>
            <pc:docMk/>
            <pc:sldMk cId="3763189814" sldId="2147470582"/>
            <ac:spMk id="2" creationId="{133E6974-9FE8-E329-D3B0-306E220289A4}"/>
          </ac:spMkLst>
        </pc:spChg>
        <pc:spChg chg="mod">
          <ac:chgData name="Dwayne Natwick" userId="d11f0013982d5c78" providerId="Windows Live" clId="Web-{BADFC5F9-7469-4C33-B617-8367941D32AF}" dt="2023-09-07T18:46:29.104" v="1781" actId="20577"/>
          <ac:spMkLst>
            <pc:docMk/>
            <pc:sldMk cId="3763189814" sldId="2147470582"/>
            <ac:spMk id="3" creationId="{23A1A54E-6325-B210-02CE-A6FEE92CB668}"/>
          </ac:spMkLst>
        </pc:spChg>
      </pc:sldChg>
      <pc:sldChg chg="addSp modSp new mod modClrScheme chgLayout">
        <pc:chgData name="Dwayne Natwick" userId="d11f0013982d5c78" providerId="Windows Live" clId="Web-{BADFC5F9-7469-4C33-B617-8367941D32AF}" dt="2023-09-07T18:46:56.855" v="1786"/>
        <pc:sldMkLst>
          <pc:docMk/>
          <pc:sldMk cId="3861986293" sldId="2147470583"/>
        </pc:sldMkLst>
        <pc:spChg chg="mod ord">
          <ac:chgData name="Dwayne Natwick" userId="d11f0013982d5c78" providerId="Windows Live" clId="Web-{BADFC5F9-7469-4C33-B617-8367941D32AF}" dt="2023-09-07T18:46:56.855" v="1786"/>
          <ac:spMkLst>
            <pc:docMk/>
            <pc:sldMk cId="3861986293" sldId="2147470583"/>
            <ac:spMk id="2" creationId="{00347D79-9563-C73D-94EA-97CC3742AEAE}"/>
          </ac:spMkLst>
        </pc:spChg>
        <pc:spChg chg="add mod ord">
          <ac:chgData name="Dwayne Natwick" userId="d11f0013982d5c78" providerId="Windows Live" clId="Web-{BADFC5F9-7469-4C33-B617-8367941D32AF}" dt="2023-09-07T18:46:56.855" v="1786"/>
          <ac:spMkLst>
            <pc:docMk/>
            <pc:sldMk cId="3861986293" sldId="2147470583"/>
            <ac:spMk id="3" creationId="{B292C898-D7C5-5588-2756-41BF32174685}"/>
          </ac:spMkLst>
        </pc:spChg>
      </pc:sldChg>
      <pc:sldMasterChg chg="addSldLayout">
        <pc:chgData name="Dwayne Natwick" userId="d11f0013982d5c78" providerId="Windows Live" clId="Web-{BADFC5F9-7469-4C33-B617-8367941D32AF}" dt="2023-09-07T18:17:21.625" v="1030"/>
        <pc:sldMasterMkLst>
          <pc:docMk/>
          <pc:sldMasterMk cId="2100427194" sldId="2147483660"/>
        </pc:sldMasterMkLst>
        <pc:sldLayoutChg chg="add">
          <pc:chgData name="Dwayne Natwick" userId="d11f0013982d5c78" providerId="Windows Live" clId="Web-{BADFC5F9-7469-4C33-B617-8367941D32AF}" dt="2023-09-07T17:46:29.753" v="7"/>
          <pc:sldLayoutMkLst>
            <pc:docMk/>
            <pc:sldMasterMk cId="2100427194" sldId="2147483660"/>
            <pc:sldLayoutMk cId="1500657544" sldId="2147483681"/>
          </pc:sldLayoutMkLst>
        </pc:sldLayoutChg>
        <pc:sldLayoutChg chg="add">
          <pc:chgData name="Dwayne Natwick" userId="d11f0013982d5c78" providerId="Windows Live" clId="Web-{BADFC5F9-7469-4C33-B617-8367941D32AF}" dt="2023-09-07T17:57:56.753" v="157"/>
          <pc:sldLayoutMkLst>
            <pc:docMk/>
            <pc:sldMasterMk cId="2100427194" sldId="2147483660"/>
            <pc:sldLayoutMk cId="2927091392" sldId="2147483682"/>
          </pc:sldLayoutMkLst>
        </pc:sldLayoutChg>
        <pc:sldLayoutChg chg="add">
          <pc:chgData name="Dwayne Natwick" userId="d11f0013982d5c78" providerId="Windows Live" clId="Web-{BADFC5F9-7469-4C33-B617-8367941D32AF}" dt="2023-09-07T18:17:21.625" v="1030"/>
          <pc:sldLayoutMkLst>
            <pc:docMk/>
            <pc:sldMasterMk cId="2100427194" sldId="2147483660"/>
            <pc:sldLayoutMk cId="1007200506" sldId="2147483683"/>
          </pc:sldLayoutMkLst>
        </pc:sldLayoutChg>
      </pc:sldMasterChg>
    </pc:docChg>
  </pc:docChgLst>
</pc:chgInfo>
</file>

<file path=ppt/diagrams/_rels/data13.xml.rels><?xml version="1.0" encoding="UTF-8" standalone="yes"?>
<Relationships xmlns="http://schemas.openxmlformats.org/package/2006/relationships"><Relationship Id="rId1" Type="http://schemas.openxmlformats.org/officeDocument/2006/relationships/hyperlink" Target="https://learn.microsoft.com/en-us/marketplace/private-offers-pre-check" TargetMode="External"/></Relationships>
</file>

<file path=ppt/diagrams/_rels/data14.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image" Target="../media/image18.svg"/><Relationship Id="rId1" Type="http://schemas.openxmlformats.org/officeDocument/2006/relationships/image" Target="../media/image17.png"/><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20.svg"/></Relationships>
</file>

<file path=ppt/diagrams/_rels/data15.xml.rels><?xml version="1.0" encoding="UTF-8" standalone="yes"?>
<Relationships xmlns="http://schemas.openxmlformats.org/package/2006/relationships"><Relationship Id="rId8" Type="http://schemas.openxmlformats.org/officeDocument/2006/relationships/image" Target="../media/image34.svg"/><Relationship Id="rId3" Type="http://schemas.openxmlformats.org/officeDocument/2006/relationships/image" Target="../media/image29.png"/><Relationship Id="rId7" Type="http://schemas.openxmlformats.org/officeDocument/2006/relationships/image" Target="../media/image33.png"/><Relationship Id="rId2" Type="http://schemas.openxmlformats.org/officeDocument/2006/relationships/image" Target="../media/image28.svg"/><Relationship Id="rId1" Type="http://schemas.openxmlformats.org/officeDocument/2006/relationships/image" Target="../media/image27.png"/><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30.svg"/></Relationships>
</file>

<file path=ppt/diagrams/_rels/data8.xml.rels><?xml version="1.0" encoding="UTF-8" standalone="yes"?>
<Relationships xmlns="http://schemas.openxmlformats.org/package/2006/relationships"><Relationship Id="rId1" Type="http://schemas.openxmlformats.org/officeDocument/2006/relationships/hyperlink" Target="https://portal.azure.com/" TargetMode="External"/></Relationships>
</file>

<file path=ppt/diagrams/_rels/data9.xml.rels><?xml version="1.0" encoding="UTF-8" standalone="yes"?>
<Relationships xmlns="http://schemas.openxmlformats.org/package/2006/relationships"><Relationship Id="rId1" Type="http://schemas.openxmlformats.org/officeDocument/2006/relationships/hyperlink" Target="https://portal.azure.com/" TargetMode="External"/></Relationships>
</file>

<file path=ppt/diagrams/_rels/drawing13.xml.rels><?xml version="1.0" encoding="UTF-8" standalone="yes"?>
<Relationships xmlns="http://schemas.openxmlformats.org/package/2006/relationships"><Relationship Id="rId1" Type="http://schemas.openxmlformats.org/officeDocument/2006/relationships/hyperlink" Target="https://learn.microsoft.com/en-us/marketplace/private-offers-pre-check" TargetMode="External"/></Relationships>
</file>

<file path=ppt/diagrams/_rels/drawing14.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image" Target="../media/image18.svg"/><Relationship Id="rId1" Type="http://schemas.openxmlformats.org/officeDocument/2006/relationships/image" Target="../media/image17.png"/><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20.svg"/></Relationships>
</file>

<file path=ppt/diagrams/_rels/drawing15.xml.rels><?xml version="1.0" encoding="UTF-8" standalone="yes"?>
<Relationships xmlns="http://schemas.openxmlformats.org/package/2006/relationships"><Relationship Id="rId8" Type="http://schemas.openxmlformats.org/officeDocument/2006/relationships/image" Target="../media/image34.svg"/><Relationship Id="rId3" Type="http://schemas.openxmlformats.org/officeDocument/2006/relationships/image" Target="../media/image29.png"/><Relationship Id="rId7" Type="http://schemas.openxmlformats.org/officeDocument/2006/relationships/image" Target="../media/image33.png"/><Relationship Id="rId2" Type="http://schemas.openxmlformats.org/officeDocument/2006/relationships/image" Target="../media/image28.svg"/><Relationship Id="rId1" Type="http://schemas.openxmlformats.org/officeDocument/2006/relationships/image" Target="../media/image27.png"/><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30.svg"/></Relationships>
</file>

<file path=ppt/diagrams/_rels/drawing8.xml.rels><?xml version="1.0" encoding="UTF-8" standalone="yes"?>
<Relationships xmlns="http://schemas.openxmlformats.org/package/2006/relationships"><Relationship Id="rId1" Type="http://schemas.openxmlformats.org/officeDocument/2006/relationships/hyperlink" Target="https://portal.azure.com/" TargetMode="External"/></Relationships>
</file>

<file path=ppt/diagrams/_rels/drawing9.xml.rels><?xml version="1.0" encoding="UTF-8" standalone="yes"?>
<Relationships xmlns="http://schemas.openxmlformats.org/package/2006/relationships"><Relationship Id="rId1" Type="http://schemas.openxmlformats.org/officeDocument/2006/relationships/hyperlink" Target="https://portal.azure.com/" TargetMode="External"/></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67F391C-A256-400C-9CDF-ECED8AA0134E}" type="doc">
      <dgm:prSet loTypeId="urn:microsoft.com/office/officeart/2005/8/layout/vList5" loCatId="list" qsTypeId="urn:microsoft.com/office/officeart/2005/8/quickstyle/simple1" qsCatId="simple" csTypeId="urn:microsoft.com/office/officeart/2005/8/colors/accent2_2" csCatId="accent2"/>
      <dgm:spPr/>
      <dgm:t>
        <a:bodyPr/>
        <a:lstStyle/>
        <a:p>
          <a:endParaRPr lang="en-US"/>
        </a:p>
      </dgm:t>
    </dgm:pt>
    <dgm:pt modelId="{EFD8A478-7BB2-4D08-B79D-AC213AE3D595}">
      <dgm:prSet/>
      <dgm:spPr/>
      <dgm:t>
        <a:bodyPr/>
        <a:lstStyle/>
        <a:p>
          <a:r>
            <a:rPr lang="en-US"/>
            <a:t>Customers</a:t>
          </a:r>
        </a:p>
      </dgm:t>
    </dgm:pt>
    <dgm:pt modelId="{2D3D1480-DE28-448A-B361-E6FC213F4E9C}" type="parTrans" cxnId="{09D773B2-A4E9-49F5-9CCA-0DC6354C8314}">
      <dgm:prSet/>
      <dgm:spPr/>
      <dgm:t>
        <a:bodyPr/>
        <a:lstStyle/>
        <a:p>
          <a:endParaRPr lang="en-US"/>
        </a:p>
      </dgm:t>
    </dgm:pt>
    <dgm:pt modelId="{8DAF6BAE-DF45-48B1-9DB2-BFB72992E972}" type="sibTrans" cxnId="{09D773B2-A4E9-49F5-9CCA-0DC6354C8314}">
      <dgm:prSet/>
      <dgm:spPr/>
      <dgm:t>
        <a:bodyPr/>
        <a:lstStyle/>
        <a:p>
          <a:endParaRPr lang="en-US"/>
        </a:p>
      </dgm:t>
    </dgm:pt>
    <dgm:pt modelId="{619042FF-CAA1-4739-A049-F8AAE1B59F73}">
      <dgm:prSet/>
      <dgm:spPr/>
      <dgm:t>
        <a:bodyPr/>
        <a:lstStyle/>
        <a:p>
          <a:r>
            <a:rPr lang="en-US"/>
            <a:t>Searchable tool</a:t>
          </a:r>
        </a:p>
      </dgm:t>
    </dgm:pt>
    <dgm:pt modelId="{1E117846-354F-4280-B054-02581A9FD411}" type="parTrans" cxnId="{7D1C6326-8DDC-4424-902B-A5CB1F2893E4}">
      <dgm:prSet/>
      <dgm:spPr/>
      <dgm:t>
        <a:bodyPr/>
        <a:lstStyle/>
        <a:p>
          <a:endParaRPr lang="en-US"/>
        </a:p>
      </dgm:t>
    </dgm:pt>
    <dgm:pt modelId="{7952EBDE-6A36-4A9C-9DD1-8189B0B233EB}" type="sibTrans" cxnId="{7D1C6326-8DDC-4424-902B-A5CB1F2893E4}">
      <dgm:prSet/>
      <dgm:spPr/>
      <dgm:t>
        <a:bodyPr/>
        <a:lstStyle/>
        <a:p>
          <a:endParaRPr lang="en-US"/>
        </a:p>
      </dgm:t>
    </dgm:pt>
    <dgm:pt modelId="{F1E10979-2607-4FF0-B634-D81F0CC3CD3D}">
      <dgm:prSet/>
      <dgm:spPr/>
      <dgm:t>
        <a:bodyPr/>
        <a:lstStyle/>
        <a:p>
          <a:r>
            <a:rPr lang="en-US"/>
            <a:t>Trial licenses available</a:t>
          </a:r>
        </a:p>
      </dgm:t>
    </dgm:pt>
    <dgm:pt modelId="{4309CC70-0E02-45D1-B3E6-CF64F89AA5A6}" type="parTrans" cxnId="{05D79A4D-7090-43C1-A3F7-0B4EF0413C38}">
      <dgm:prSet/>
      <dgm:spPr/>
      <dgm:t>
        <a:bodyPr/>
        <a:lstStyle/>
        <a:p>
          <a:endParaRPr lang="en-US"/>
        </a:p>
      </dgm:t>
    </dgm:pt>
    <dgm:pt modelId="{B5558348-BB09-473C-A39E-E9CB35C7CD31}" type="sibTrans" cxnId="{05D79A4D-7090-43C1-A3F7-0B4EF0413C38}">
      <dgm:prSet/>
      <dgm:spPr/>
      <dgm:t>
        <a:bodyPr/>
        <a:lstStyle/>
        <a:p>
          <a:endParaRPr lang="en-US"/>
        </a:p>
      </dgm:t>
    </dgm:pt>
    <dgm:pt modelId="{446E7E60-E597-4D27-B95F-65A85882C2B4}">
      <dgm:prSet/>
      <dgm:spPr/>
      <dgm:t>
        <a:bodyPr/>
        <a:lstStyle/>
        <a:p>
          <a:r>
            <a:rPr lang="en-US"/>
            <a:t>Easily buy and deploy solutions</a:t>
          </a:r>
        </a:p>
      </dgm:t>
    </dgm:pt>
    <dgm:pt modelId="{412F4AC1-2D64-43BD-A875-632B9450BA80}" type="parTrans" cxnId="{EA23FBF7-EA78-4E9C-8EC8-9C100848B181}">
      <dgm:prSet/>
      <dgm:spPr/>
      <dgm:t>
        <a:bodyPr/>
        <a:lstStyle/>
        <a:p>
          <a:endParaRPr lang="en-US"/>
        </a:p>
      </dgm:t>
    </dgm:pt>
    <dgm:pt modelId="{2B58BD01-5A40-4D75-8E1A-EF811B385754}" type="sibTrans" cxnId="{EA23FBF7-EA78-4E9C-8EC8-9C100848B181}">
      <dgm:prSet/>
      <dgm:spPr/>
      <dgm:t>
        <a:bodyPr/>
        <a:lstStyle/>
        <a:p>
          <a:endParaRPr lang="en-US"/>
        </a:p>
      </dgm:t>
    </dgm:pt>
    <dgm:pt modelId="{C7486E6E-F549-4CC7-AB09-AC03B9EE0730}">
      <dgm:prSet/>
      <dgm:spPr/>
      <dgm:t>
        <a:bodyPr/>
        <a:lstStyle/>
        <a:p>
          <a:r>
            <a:rPr lang="en-US"/>
            <a:t>Use existing Microsoft purchase agreements for consolidated invoice</a:t>
          </a:r>
        </a:p>
      </dgm:t>
    </dgm:pt>
    <dgm:pt modelId="{90D30231-2209-47C2-A0FF-32CDDF94E087}" type="parTrans" cxnId="{46B87D5B-30CF-47EA-808E-29BCF2E1CA5B}">
      <dgm:prSet/>
      <dgm:spPr/>
      <dgm:t>
        <a:bodyPr/>
        <a:lstStyle/>
        <a:p>
          <a:endParaRPr lang="en-US"/>
        </a:p>
      </dgm:t>
    </dgm:pt>
    <dgm:pt modelId="{3D5BE2FE-0CE4-4444-BFF5-32EEF1812DAA}" type="sibTrans" cxnId="{46B87D5B-30CF-47EA-808E-29BCF2E1CA5B}">
      <dgm:prSet/>
      <dgm:spPr/>
      <dgm:t>
        <a:bodyPr/>
        <a:lstStyle/>
        <a:p>
          <a:endParaRPr lang="en-US"/>
        </a:p>
      </dgm:t>
    </dgm:pt>
    <dgm:pt modelId="{180D1098-2835-45C7-9647-BD351ED14D2F}">
      <dgm:prSet/>
      <dgm:spPr/>
      <dgm:t>
        <a:bodyPr/>
        <a:lstStyle/>
        <a:p>
          <a:r>
            <a:rPr lang="en-US"/>
            <a:t>Partners</a:t>
          </a:r>
        </a:p>
      </dgm:t>
    </dgm:pt>
    <dgm:pt modelId="{ED8AA79E-B139-4996-A0CD-20DA74A70FD9}" type="parTrans" cxnId="{34E79714-3261-45BF-956E-6096631A9618}">
      <dgm:prSet/>
      <dgm:spPr/>
      <dgm:t>
        <a:bodyPr/>
        <a:lstStyle/>
        <a:p>
          <a:endParaRPr lang="en-US"/>
        </a:p>
      </dgm:t>
    </dgm:pt>
    <dgm:pt modelId="{7E0163A6-F298-4915-9B22-066A41283946}" type="sibTrans" cxnId="{34E79714-3261-45BF-956E-6096631A9618}">
      <dgm:prSet/>
      <dgm:spPr/>
      <dgm:t>
        <a:bodyPr/>
        <a:lstStyle/>
        <a:p>
          <a:endParaRPr lang="en-US"/>
        </a:p>
      </dgm:t>
    </dgm:pt>
    <dgm:pt modelId="{9436B5B7-A631-4DAC-9DED-3AE28D872DD8}">
      <dgm:prSet/>
      <dgm:spPr/>
      <dgm:t>
        <a:bodyPr/>
        <a:lstStyle/>
        <a:p>
          <a:r>
            <a:rPr lang="en-US"/>
            <a:t>Test solutions in Microsoft Azure infrastructure</a:t>
          </a:r>
        </a:p>
      </dgm:t>
    </dgm:pt>
    <dgm:pt modelId="{FE500843-AA10-42C4-BA7C-643B2AEFAC57}" type="parTrans" cxnId="{46D632CC-4552-4E8F-8722-22E80188061A}">
      <dgm:prSet/>
      <dgm:spPr/>
      <dgm:t>
        <a:bodyPr/>
        <a:lstStyle/>
        <a:p>
          <a:endParaRPr lang="en-US"/>
        </a:p>
      </dgm:t>
    </dgm:pt>
    <dgm:pt modelId="{AAD1639D-3A31-495C-B7C9-694E43FC1794}" type="sibTrans" cxnId="{46D632CC-4552-4E8F-8722-22E80188061A}">
      <dgm:prSet/>
      <dgm:spPr/>
      <dgm:t>
        <a:bodyPr/>
        <a:lstStyle/>
        <a:p>
          <a:endParaRPr lang="en-US"/>
        </a:p>
      </dgm:t>
    </dgm:pt>
    <dgm:pt modelId="{2FEBDDC1-0A18-47DE-A151-2DD9297AE6FE}">
      <dgm:prSet/>
      <dgm:spPr/>
      <dgm:t>
        <a:bodyPr/>
        <a:lstStyle/>
        <a:p>
          <a:r>
            <a:rPr lang="en-US"/>
            <a:t>Create your own offers for an additional sales and marketing channel</a:t>
          </a:r>
        </a:p>
      </dgm:t>
    </dgm:pt>
    <dgm:pt modelId="{D360D997-3464-4993-8021-7B45729FECC1}" type="parTrans" cxnId="{6D63DC52-51E2-4AEF-8E08-10339492EF99}">
      <dgm:prSet/>
      <dgm:spPr/>
      <dgm:t>
        <a:bodyPr/>
        <a:lstStyle/>
        <a:p>
          <a:endParaRPr lang="en-US"/>
        </a:p>
      </dgm:t>
    </dgm:pt>
    <dgm:pt modelId="{927D65EA-3250-4B4B-954F-28AE73EAB7C8}" type="sibTrans" cxnId="{6D63DC52-51E2-4AEF-8E08-10339492EF99}">
      <dgm:prSet/>
      <dgm:spPr/>
      <dgm:t>
        <a:bodyPr/>
        <a:lstStyle/>
        <a:p>
          <a:endParaRPr lang="en-US"/>
        </a:p>
      </dgm:t>
    </dgm:pt>
    <dgm:pt modelId="{32FCD486-9B5E-4033-84F8-612BB29CCB12}">
      <dgm:prSet/>
      <dgm:spPr/>
      <dgm:t>
        <a:bodyPr/>
        <a:lstStyle/>
        <a:p>
          <a:r>
            <a:rPr lang="en-US"/>
            <a:t>Reach more customers</a:t>
          </a:r>
        </a:p>
      </dgm:t>
    </dgm:pt>
    <dgm:pt modelId="{FD0D9E41-980B-4CE5-9D9B-9F08BD23031F}" type="parTrans" cxnId="{EDA43533-FA89-4CFB-B157-A1CCE54492D1}">
      <dgm:prSet/>
      <dgm:spPr/>
      <dgm:t>
        <a:bodyPr/>
        <a:lstStyle/>
        <a:p>
          <a:endParaRPr lang="en-US"/>
        </a:p>
      </dgm:t>
    </dgm:pt>
    <dgm:pt modelId="{F2B0E20E-B21A-4C41-B62A-48E87FAEA834}" type="sibTrans" cxnId="{EDA43533-FA89-4CFB-B157-A1CCE54492D1}">
      <dgm:prSet/>
      <dgm:spPr/>
      <dgm:t>
        <a:bodyPr/>
        <a:lstStyle/>
        <a:p>
          <a:endParaRPr lang="en-US"/>
        </a:p>
      </dgm:t>
    </dgm:pt>
    <dgm:pt modelId="{D24A75C6-B20F-4236-A9C7-7745D83DF7F8}" type="pres">
      <dgm:prSet presAssocID="{B67F391C-A256-400C-9CDF-ECED8AA0134E}" presName="Name0" presStyleCnt="0">
        <dgm:presLayoutVars>
          <dgm:dir/>
          <dgm:animLvl val="lvl"/>
          <dgm:resizeHandles val="exact"/>
        </dgm:presLayoutVars>
      </dgm:prSet>
      <dgm:spPr/>
    </dgm:pt>
    <dgm:pt modelId="{180D7B1E-0C0D-46A4-9453-B84F846C9860}" type="pres">
      <dgm:prSet presAssocID="{EFD8A478-7BB2-4D08-B79D-AC213AE3D595}" presName="linNode" presStyleCnt="0"/>
      <dgm:spPr/>
    </dgm:pt>
    <dgm:pt modelId="{D320E2F0-CCF0-4AF2-9463-C12CAE11DD58}" type="pres">
      <dgm:prSet presAssocID="{EFD8A478-7BB2-4D08-B79D-AC213AE3D595}" presName="parentText" presStyleLbl="node1" presStyleIdx="0" presStyleCnt="2">
        <dgm:presLayoutVars>
          <dgm:chMax val="1"/>
          <dgm:bulletEnabled val="1"/>
        </dgm:presLayoutVars>
      </dgm:prSet>
      <dgm:spPr/>
    </dgm:pt>
    <dgm:pt modelId="{6E0F82A4-A1C0-43AF-8189-756E948F4899}" type="pres">
      <dgm:prSet presAssocID="{EFD8A478-7BB2-4D08-B79D-AC213AE3D595}" presName="descendantText" presStyleLbl="alignAccFollowNode1" presStyleIdx="0" presStyleCnt="2">
        <dgm:presLayoutVars>
          <dgm:bulletEnabled val="1"/>
        </dgm:presLayoutVars>
      </dgm:prSet>
      <dgm:spPr/>
    </dgm:pt>
    <dgm:pt modelId="{58D4FB8F-C609-48FB-A001-6C9E48BC52CA}" type="pres">
      <dgm:prSet presAssocID="{8DAF6BAE-DF45-48B1-9DB2-BFB72992E972}" presName="sp" presStyleCnt="0"/>
      <dgm:spPr/>
    </dgm:pt>
    <dgm:pt modelId="{B34250D4-3FDA-4298-B8FA-E3AE034105F0}" type="pres">
      <dgm:prSet presAssocID="{180D1098-2835-45C7-9647-BD351ED14D2F}" presName="linNode" presStyleCnt="0"/>
      <dgm:spPr/>
    </dgm:pt>
    <dgm:pt modelId="{7896717C-DCF7-431F-A814-13A2C0BF99B3}" type="pres">
      <dgm:prSet presAssocID="{180D1098-2835-45C7-9647-BD351ED14D2F}" presName="parentText" presStyleLbl="node1" presStyleIdx="1" presStyleCnt="2">
        <dgm:presLayoutVars>
          <dgm:chMax val="1"/>
          <dgm:bulletEnabled val="1"/>
        </dgm:presLayoutVars>
      </dgm:prSet>
      <dgm:spPr/>
    </dgm:pt>
    <dgm:pt modelId="{D60B7971-9744-4CAF-A5AE-CAAD9661EF26}" type="pres">
      <dgm:prSet presAssocID="{180D1098-2835-45C7-9647-BD351ED14D2F}" presName="descendantText" presStyleLbl="alignAccFollowNode1" presStyleIdx="1" presStyleCnt="2">
        <dgm:presLayoutVars>
          <dgm:bulletEnabled val="1"/>
        </dgm:presLayoutVars>
      </dgm:prSet>
      <dgm:spPr/>
    </dgm:pt>
  </dgm:ptLst>
  <dgm:cxnLst>
    <dgm:cxn modelId="{76B9050D-ED97-4AB1-9F8F-9A0D0AA3132C}" type="presOf" srcId="{B67F391C-A256-400C-9CDF-ECED8AA0134E}" destId="{D24A75C6-B20F-4236-A9C7-7745D83DF7F8}" srcOrd="0" destOrd="0" presId="urn:microsoft.com/office/officeart/2005/8/layout/vList5"/>
    <dgm:cxn modelId="{34E79714-3261-45BF-956E-6096631A9618}" srcId="{B67F391C-A256-400C-9CDF-ECED8AA0134E}" destId="{180D1098-2835-45C7-9647-BD351ED14D2F}" srcOrd="1" destOrd="0" parTransId="{ED8AA79E-B139-4996-A0CD-20DA74A70FD9}" sibTransId="{7E0163A6-F298-4915-9B22-066A41283946}"/>
    <dgm:cxn modelId="{26C43E15-B7A5-447C-9EDF-5F3C2AE1137D}" type="presOf" srcId="{180D1098-2835-45C7-9647-BD351ED14D2F}" destId="{7896717C-DCF7-431F-A814-13A2C0BF99B3}" srcOrd="0" destOrd="0" presId="urn:microsoft.com/office/officeart/2005/8/layout/vList5"/>
    <dgm:cxn modelId="{7D1C6326-8DDC-4424-902B-A5CB1F2893E4}" srcId="{EFD8A478-7BB2-4D08-B79D-AC213AE3D595}" destId="{619042FF-CAA1-4739-A049-F8AAE1B59F73}" srcOrd="0" destOrd="0" parTransId="{1E117846-354F-4280-B054-02581A9FD411}" sibTransId="{7952EBDE-6A36-4A9C-9DD1-8189B0B233EB}"/>
    <dgm:cxn modelId="{EDA43533-FA89-4CFB-B157-A1CCE54492D1}" srcId="{180D1098-2835-45C7-9647-BD351ED14D2F}" destId="{32FCD486-9B5E-4033-84F8-612BB29CCB12}" srcOrd="2" destOrd="0" parTransId="{FD0D9E41-980B-4CE5-9D9B-9F08BD23031F}" sibTransId="{F2B0E20E-B21A-4C41-B62A-48E87FAEA834}"/>
    <dgm:cxn modelId="{8D3C3E3B-885A-476A-958C-95C0B6824558}" type="presOf" srcId="{EFD8A478-7BB2-4D08-B79D-AC213AE3D595}" destId="{D320E2F0-CCF0-4AF2-9463-C12CAE11DD58}" srcOrd="0" destOrd="0" presId="urn:microsoft.com/office/officeart/2005/8/layout/vList5"/>
    <dgm:cxn modelId="{41773A5B-5580-4098-A416-25AEF5C5D98A}" type="presOf" srcId="{C7486E6E-F549-4CC7-AB09-AC03B9EE0730}" destId="{6E0F82A4-A1C0-43AF-8189-756E948F4899}" srcOrd="0" destOrd="3" presId="urn:microsoft.com/office/officeart/2005/8/layout/vList5"/>
    <dgm:cxn modelId="{46B87D5B-30CF-47EA-808E-29BCF2E1CA5B}" srcId="{EFD8A478-7BB2-4D08-B79D-AC213AE3D595}" destId="{C7486E6E-F549-4CC7-AB09-AC03B9EE0730}" srcOrd="3" destOrd="0" parTransId="{90D30231-2209-47C2-A0FF-32CDDF94E087}" sibTransId="{3D5BE2FE-0CE4-4444-BFF5-32EEF1812DAA}"/>
    <dgm:cxn modelId="{F2A5EB44-7527-45D6-A7F1-FF65DFB4A425}" type="presOf" srcId="{2FEBDDC1-0A18-47DE-A151-2DD9297AE6FE}" destId="{D60B7971-9744-4CAF-A5AE-CAAD9661EF26}" srcOrd="0" destOrd="1" presId="urn:microsoft.com/office/officeart/2005/8/layout/vList5"/>
    <dgm:cxn modelId="{16C57665-BD5E-4534-AFC5-B5608A5B4D24}" type="presOf" srcId="{446E7E60-E597-4D27-B95F-65A85882C2B4}" destId="{6E0F82A4-A1C0-43AF-8189-756E948F4899}" srcOrd="0" destOrd="2" presId="urn:microsoft.com/office/officeart/2005/8/layout/vList5"/>
    <dgm:cxn modelId="{218EB34A-E8D8-4712-ABFB-3076347B512B}" type="presOf" srcId="{F1E10979-2607-4FF0-B634-D81F0CC3CD3D}" destId="{6E0F82A4-A1C0-43AF-8189-756E948F4899}" srcOrd="0" destOrd="1" presId="urn:microsoft.com/office/officeart/2005/8/layout/vList5"/>
    <dgm:cxn modelId="{AA981D4B-FAF4-4125-9682-E534F027569B}" type="presOf" srcId="{619042FF-CAA1-4739-A049-F8AAE1B59F73}" destId="{6E0F82A4-A1C0-43AF-8189-756E948F4899}" srcOrd="0" destOrd="0" presId="urn:microsoft.com/office/officeart/2005/8/layout/vList5"/>
    <dgm:cxn modelId="{493C6D6B-9CAA-47DE-9A3F-1AFD23F0F3B0}" type="presOf" srcId="{9436B5B7-A631-4DAC-9DED-3AE28D872DD8}" destId="{D60B7971-9744-4CAF-A5AE-CAAD9661EF26}" srcOrd="0" destOrd="0" presId="urn:microsoft.com/office/officeart/2005/8/layout/vList5"/>
    <dgm:cxn modelId="{05D79A4D-7090-43C1-A3F7-0B4EF0413C38}" srcId="{EFD8A478-7BB2-4D08-B79D-AC213AE3D595}" destId="{F1E10979-2607-4FF0-B634-D81F0CC3CD3D}" srcOrd="1" destOrd="0" parTransId="{4309CC70-0E02-45D1-B3E6-CF64F89AA5A6}" sibTransId="{B5558348-BB09-473C-A39E-E9CB35C7CD31}"/>
    <dgm:cxn modelId="{B9E03272-4181-412C-B5B6-3195205EFDF1}" type="presOf" srcId="{32FCD486-9B5E-4033-84F8-612BB29CCB12}" destId="{D60B7971-9744-4CAF-A5AE-CAAD9661EF26}" srcOrd="0" destOrd="2" presId="urn:microsoft.com/office/officeart/2005/8/layout/vList5"/>
    <dgm:cxn modelId="{6D63DC52-51E2-4AEF-8E08-10339492EF99}" srcId="{180D1098-2835-45C7-9647-BD351ED14D2F}" destId="{2FEBDDC1-0A18-47DE-A151-2DD9297AE6FE}" srcOrd="1" destOrd="0" parTransId="{D360D997-3464-4993-8021-7B45729FECC1}" sibTransId="{927D65EA-3250-4B4B-954F-28AE73EAB7C8}"/>
    <dgm:cxn modelId="{09D773B2-A4E9-49F5-9CCA-0DC6354C8314}" srcId="{B67F391C-A256-400C-9CDF-ECED8AA0134E}" destId="{EFD8A478-7BB2-4D08-B79D-AC213AE3D595}" srcOrd="0" destOrd="0" parTransId="{2D3D1480-DE28-448A-B361-E6FC213F4E9C}" sibTransId="{8DAF6BAE-DF45-48B1-9DB2-BFB72992E972}"/>
    <dgm:cxn modelId="{46D632CC-4552-4E8F-8722-22E80188061A}" srcId="{180D1098-2835-45C7-9647-BD351ED14D2F}" destId="{9436B5B7-A631-4DAC-9DED-3AE28D872DD8}" srcOrd="0" destOrd="0" parTransId="{FE500843-AA10-42C4-BA7C-643B2AEFAC57}" sibTransId="{AAD1639D-3A31-495C-B7C9-694E43FC1794}"/>
    <dgm:cxn modelId="{EA23FBF7-EA78-4E9C-8EC8-9C100848B181}" srcId="{EFD8A478-7BB2-4D08-B79D-AC213AE3D595}" destId="{446E7E60-E597-4D27-B95F-65A85882C2B4}" srcOrd="2" destOrd="0" parTransId="{412F4AC1-2D64-43BD-A875-632B9450BA80}" sibTransId="{2B58BD01-5A40-4D75-8E1A-EF811B385754}"/>
    <dgm:cxn modelId="{EC1E24AB-3B63-494D-B7E4-72A665421813}" type="presParOf" srcId="{D24A75C6-B20F-4236-A9C7-7745D83DF7F8}" destId="{180D7B1E-0C0D-46A4-9453-B84F846C9860}" srcOrd="0" destOrd="0" presId="urn:microsoft.com/office/officeart/2005/8/layout/vList5"/>
    <dgm:cxn modelId="{674B59F6-3B8A-4882-92A4-B51D034A3803}" type="presParOf" srcId="{180D7B1E-0C0D-46A4-9453-B84F846C9860}" destId="{D320E2F0-CCF0-4AF2-9463-C12CAE11DD58}" srcOrd="0" destOrd="0" presId="urn:microsoft.com/office/officeart/2005/8/layout/vList5"/>
    <dgm:cxn modelId="{7BA25B24-8028-44F0-9C48-49533E0C95EB}" type="presParOf" srcId="{180D7B1E-0C0D-46A4-9453-B84F846C9860}" destId="{6E0F82A4-A1C0-43AF-8189-756E948F4899}" srcOrd="1" destOrd="0" presId="urn:microsoft.com/office/officeart/2005/8/layout/vList5"/>
    <dgm:cxn modelId="{5E3552FE-5C37-40FF-9C3E-FAFBE89EF3FE}" type="presParOf" srcId="{D24A75C6-B20F-4236-A9C7-7745D83DF7F8}" destId="{58D4FB8F-C609-48FB-A001-6C9E48BC52CA}" srcOrd="1" destOrd="0" presId="urn:microsoft.com/office/officeart/2005/8/layout/vList5"/>
    <dgm:cxn modelId="{0B69B533-B68D-446C-A78A-3975E94DFBD7}" type="presParOf" srcId="{D24A75C6-B20F-4236-A9C7-7745D83DF7F8}" destId="{B34250D4-3FDA-4298-B8FA-E3AE034105F0}" srcOrd="2" destOrd="0" presId="urn:microsoft.com/office/officeart/2005/8/layout/vList5"/>
    <dgm:cxn modelId="{A6C2C95A-05EB-4DD7-AED1-8347FC27A14B}" type="presParOf" srcId="{B34250D4-3FDA-4298-B8FA-E3AE034105F0}" destId="{7896717C-DCF7-431F-A814-13A2C0BF99B3}" srcOrd="0" destOrd="0" presId="urn:microsoft.com/office/officeart/2005/8/layout/vList5"/>
    <dgm:cxn modelId="{782BF9C3-8EC4-4EEB-BDA3-BE4D310BBF13}" type="presParOf" srcId="{B34250D4-3FDA-4298-B8FA-E3AE034105F0}" destId="{D60B7971-9744-4CAF-A5AE-CAAD9661EF26}"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6703539A-C451-4D4F-82E8-F70AE3CBF536}" type="doc">
      <dgm:prSet loTypeId="urn:microsoft.com/office/officeart/2005/8/layout/hList1" loCatId="list" qsTypeId="urn:microsoft.com/office/officeart/2005/8/quickstyle/simple4" qsCatId="simple" csTypeId="urn:microsoft.com/office/officeart/2005/8/colors/accent2_2" csCatId="accent2" phldr="1"/>
      <dgm:spPr/>
      <dgm:t>
        <a:bodyPr/>
        <a:lstStyle/>
        <a:p>
          <a:endParaRPr lang="en-US"/>
        </a:p>
      </dgm:t>
    </dgm:pt>
    <dgm:pt modelId="{278F678D-C476-4AF3-841A-929EB5AED855}">
      <dgm:prSet/>
      <dgm:spPr/>
      <dgm:t>
        <a:bodyPr/>
        <a:lstStyle/>
        <a:p>
          <a:r>
            <a:rPr lang="en-US" baseline="0"/>
            <a:t>Requirements</a:t>
          </a:r>
          <a:endParaRPr lang="en-US"/>
        </a:p>
      </dgm:t>
    </dgm:pt>
    <dgm:pt modelId="{069090C3-FDED-4B18-B00D-D3ABA09A8763}" type="parTrans" cxnId="{F6F98EFA-C1CD-451A-8BF1-E11FC7FDBE93}">
      <dgm:prSet/>
      <dgm:spPr/>
      <dgm:t>
        <a:bodyPr/>
        <a:lstStyle/>
        <a:p>
          <a:endParaRPr lang="en-US"/>
        </a:p>
      </dgm:t>
    </dgm:pt>
    <dgm:pt modelId="{AFDB45C1-B4EB-48F5-BF78-E230E700F73E}" type="sibTrans" cxnId="{F6F98EFA-C1CD-451A-8BF1-E11FC7FDBE93}">
      <dgm:prSet/>
      <dgm:spPr/>
      <dgm:t>
        <a:bodyPr/>
        <a:lstStyle/>
        <a:p>
          <a:endParaRPr lang="en-US"/>
        </a:p>
      </dgm:t>
    </dgm:pt>
    <dgm:pt modelId="{FBDDD1EC-2645-46AE-8DC7-D405BD6F166B}">
      <dgm:prSet/>
      <dgm:spPr/>
      <dgm:t>
        <a:bodyPr/>
        <a:lstStyle/>
        <a:p>
          <a:r>
            <a:rPr lang="en-US" baseline="0"/>
            <a:t>Have an Azure subscription</a:t>
          </a:r>
          <a:endParaRPr lang="en-US"/>
        </a:p>
      </dgm:t>
    </dgm:pt>
    <dgm:pt modelId="{CB43CEA8-8DC4-4229-80E6-B263C51D0C65}" type="parTrans" cxnId="{8D90DB68-0899-454B-A0CA-8463827AE685}">
      <dgm:prSet/>
      <dgm:spPr/>
      <dgm:t>
        <a:bodyPr/>
        <a:lstStyle/>
        <a:p>
          <a:endParaRPr lang="en-US"/>
        </a:p>
      </dgm:t>
    </dgm:pt>
    <dgm:pt modelId="{AAB04276-062E-4D94-87E0-BF58E4E1C4A1}" type="sibTrans" cxnId="{8D90DB68-0899-454B-A0CA-8463827AE685}">
      <dgm:prSet/>
      <dgm:spPr/>
      <dgm:t>
        <a:bodyPr/>
        <a:lstStyle/>
        <a:p>
          <a:endParaRPr lang="en-US"/>
        </a:p>
      </dgm:t>
    </dgm:pt>
    <dgm:pt modelId="{7CE79EF6-4695-4112-A977-588840D9EEF6}">
      <dgm:prSet/>
      <dgm:spPr/>
      <dgm:t>
        <a:bodyPr/>
        <a:lstStyle/>
        <a:p>
          <a:r>
            <a:rPr lang="en-US" baseline="0" dirty="0"/>
            <a:t>Have permission to purchase from Marketplace</a:t>
          </a:r>
          <a:endParaRPr lang="en-US" dirty="0"/>
        </a:p>
      </dgm:t>
    </dgm:pt>
    <dgm:pt modelId="{56C50CB8-68AB-43E1-AC14-DA9A9D44A3BC}" type="parTrans" cxnId="{60A083A5-07D9-4C2A-AF33-15E04C4B36B3}">
      <dgm:prSet/>
      <dgm:spPr/>
      <dgm:t>
        <a:bodyPr/>
        <a:lstStyle/>
        <a:p>
          <a:endParaRPr lang="en-US"/>
        </a:p>
      </dgm:t>
    </dgm:pt>
    <dgm:pt modelId="{96550C3E-884D-47BB-85D9-9914931719A1}" type="sibTrans" cxnId="{60A083A5-07D9-4C2A-AF33-15E04C4B36B3}">
      <dgm:prSet/>
      <dgm:spPr/>
      <dgm:t>
        <a:bodyPr/>
        <a:lstStyle/>
        <a:p>
          <a:endParaRPr lang="en-US"/>
        </a:p>
      </dgm:t>
    </dgm:pt>
    <dgm:pt modelId="{112E46B1-220A-4FA3-B0CD-68A76FFCFBF5}">
      <dgm:prSet/>
      <dgm:spPr/>
      <dgm:t>
        <a:bodyPr/>
        <a:lstStyle/>
        <a:p>
          <a:r>
            <a:rPr lang="en-US" baseline="0"/>
            <a:t>Discovery of SaaS offers through filters</a:t>
          </a:r>
          <a:endParaRPr lang="en-US"/>
        </a:p>
      </dgm:t>
    </dgm:pt>
    <dgm:pt modelId="{E9AFA68C-70C0-4487-810F-B749567D4E5A}" type="parTrans" cxnId="{5AAFFE6C-50FB-40BB-A5F3-F1A03E5E5F0E}">
      <dgm:prSet/>
      <dgm:spPr/>
      <dgm:t>
        <a:bodyPr/>
        <a:lstStyle/>
        <a:p>
          <a:endParaRPr lang="en-US"/>
        </a:p>
      </dgm:t>
    </dgm:pt>
    <dgm:pt modelId="{851FD837-989D-4102-A645-025ACF4067C7}" type="sibTrans" cxnId="{5AAFFE6C-50FB-40BB-A5F3-F1A03E5E5F0E}">
      <dgm:prSet/>
      <dgm:spPr/>
      <dgm:t>
        <a:bodyPr/>
        <a:lstStyle/>
        <a:p>
          <a:endParaRPr lang="en-US"/>
        </a:p>
      </dgm:t>
    </dgm:pt>
    <dgm:pt modelId="{97BF999A-7C1D-4AAE-9DF1-DC6E508AD797}">
      <dgm:prSet/>
      <dgm:spPr/>
      <dgm:t>
        <a:bodyPr/>
        <a:lstStyle/>
        <a:p>
          <a:r>
            <a:rPr lang="en-US" baseline="0"/>
            <a:t>Offer type</a:t>
          </a:r>
          <a:endParaRPr lang="en-US"/>
        </a:p>
      </dgm:t>
    </dgm:pt>
    <dgm:pt modelId="{379D80A5-D6AB-4AE8-B4B4-2B249900839C}" type="parTrans" cxnId="{60948029-9878-41EE-89A3-F14096D4AF0E}">
      <dgm:prSet/>
      <dgm:spPr/>
      <dgm:t>
        <a:bodyPr/>
        <a:lstStyle/>
        <a:p>
          <a:endParaRPr lang="en-US"/>
        </a:p>
      </dgm:t>
    </dgm:pt>
    <dgm:pt modelId="{97459120-8527-4C0E-BC86-10B4AB1E24F2}" type="sibTrans" cxnId="{60948029-9878-41EE-89A3-F14096D4AF0E}">
      <dgm:prSet/>
      <dgm:spPr/>
      <dgm:t>
        <a:bodyPr/>
        <a:lstStyle/>
        <a:p>
          <a:endParaRPr lang="en-US"/>
        </a:p>
      </dgm:t>
    </dgm:pt>
    <dgm:pt modelId="{4E2AB9A1-4D26-49D0-A2D2-521735979170}">
      <dgm:prSet/>
      <dgm:spPr/>
      <dgm:t>
        <a:bodyPr/>
        <a:lstStyle/>
        <a:p>
          <a:r>
            <a:rPr lang="en-US" baseline="0"/>
            <a:t>Private offers</a:t>
          </a:r>
          <a:endParaRPr lang="en-US"/>
        </a:p>
      </dgm:t>
    </dgm:pt>
    <dgm:pt modelId="{353E9B5B-203B-416D-BD1D-2204222A7E7E}" type="parTrans" cxnId="{D25D60E3-F6FC-450B-A886-BCE17DC0C3FA}">
      <dgm:prSet/>
      <dgm:spPr/>
      <dgm:t>
        <a:bodyPr/>
        <a:lstStyle/>
        <a:p>
          <a:endParaRPr lang="en-US"/>
        </a:p>
      </dgm:t>
    </dgm:pt>
    <dgm:pt modelId="{59881ECB-D974-40A0-A65F-D8666E84E143}" type="sibTrans" cxnId="{D25D60E3-F6FC-450B-A886-BCE17DC0C3FA}">
      <dgm:prSet/>
      <dgm:spPr/>
      <dgm:t>
        <a:bodyPr/>
        <a:lstStyle/>
        <a:p>
          <a:endParaRPr lang="en-US"/>
        </a:p>
      </dgm:t>
    </dgm:pt>
    <dgm:pt modelId="{4D4F4495-9C54-4117-BEF5-507CE44372A1}">
      <dgm:prSet/>
      <dgm:spPr/>
      <dgm:t>
        <a:bodyPr/>
        <a:lstStyle/>
        <a:p>
          <a:r>
            <a:rPr lang="en-US" baseline="0"/>
            <a:t>Overview</a:t>
          </a:r>
          <a:endParaRPr lang="en-US"/>
        </a:p>
      </dgm:t>
    </dgm:pt>
    <dgm:pt modelId="{617370E2-F35E-4623-B19B-4A60D29A8C00}" type="parTrans" cxnId="{500E3371-EA37-4348-90BE-1852CB361348}">
      <dgm:prSet/>
      <dgm:spPr/>
      <dgm:t>
        <a:bodyPr/>
        <a:lstStyle/>
        <a:p>
          <a:endParaRPr lang="en-US"/>
        </a:p>
      </dgm:t>
    </dgm:pt>
    <dgm:pt modelId="{43E8C58C-1112-4A0E-A1F0-90E076EFDFED}" type="sibTrans" cxnId="{500E3371-EA37-4348-90BE-1852CB361348}">
      <dgm:prSet/>
      <dgm:spPr/>
      <dgm:t>
        <a:bodyPr/>
        <a:lstStyle/>
        <a:p>
          <a:endParaRPr lang="en-US"/>
        </a:p>
      </dgm:t>
    </dgm:pt>
    <dgm:pt modelId="{DA31861B-D8B0-419A-87A8-DA8B1360BFF2}">
      <dgm:prSet/>
      <dgm:spPr/>
      <dgm:t>
        <a:bodyPr/>
        <a:lstStyle/>
        <a:p>
          <a:r>
            <a:rPr lang="en-US" baseline="0"/>
            <a:t>Plans + Pricing</a:t>
          </a:r>
          <a:endParaRPr lang="en-US"/>
        </a:p>
      </dgm:t>
    </dgm:pt>
    <dgm:pt modelId="{E87815B1-FF00-45A6-8CA2-006096C92705}" type="parTrans" cxnId="{24E5CB9B-64D3-425A-AE49-75E29D29EDDB}">
      <dgm:prSet/>
      <dgm:spPr/>
      <dgm:t>
        <a:bodyPr/>
        <a:lstStyle/>
        <a:p>
          <a:endParaRPr lang="en-US"/>
        </a:p>
      </dgm:t>
    </dgm:pt>
    <dgm:pt modelId="{8E3BBD21-24DC-4B51-8D1E-91F38985E32C}" type="sibTrans" cxnId="{24E5CB9B-64D3-425A-AE49-75E29D29EDDB}">
      <dgm:prSet/>
      <dgm:spPr/>
      <dgm:t>
        <a:bodyPr/>
        <a:lstStyle/>
        <a:p>
          <a:endParaRPr lang="en-US"/>
        </a:p>
      </dgm:t>
    </dgm:pt>
    <dgm:pt modelId="{7857722C-0440-452E-B6A5-04C8B5BE1878}">
      <dgm:prSet/>
      <dgm:spPr/>
      <dgm:t>
        <a:bodyPr/>
        <a:lstStyle/>
        <a:p>
          <a:r>
            <a:rPr lang="en-US" baseline="0"/>
            <a:t>Usage information + Support</a:t>
          </a:r>
          <a:endParaRPr lang="en-US"/>
        </a:p>
      </dgm:t>
    </dgm:pt>
    <dgm:pt modelId="{CDCE4031-1537-4675-8DA4-3EBBAAD76FA2}" type="parTrans" cxnId="{E24315E6-022B-40A4-B85D-C687F8304306}">
      <dgm:prSet/>
      <dgm:spPr/>
      <dgm:t>
        <a:bodyPr/>
        <a:lstStyle/>
        <a:p>
          <a:endParaRPr lang="en-US"/>
        </a:p>
      </dgm:t>
    </dgm:pt>
    <dgm:pt modelId="{F588C392-23FF-474C-967F-FAE02EF23085}" type="sibTrans" cxnId="{E24315E6-022B-40A4-B85D-C687F8304306}">
      <dgm:prSet/>
      <dgm:spPr/>
      <dgm:t>
        <a:bodyPr/>
        <a:lstStyle/>
        <a:p>
          <a:endParaRPr lang="en-US"/>
        </a:p>
      </dgm:t>
    </dgm:pt>
    <dgm:pt modelId="{14FE3DD9-39CB-449F-A157-B5519EAA6813}">
      <dgm:prSet/>
      <dgm:spPr/>
      <dgm:t>
        <a:bodyPr/>
        <a:lstStyle/>
        <a:p>
          <a:r>
            <a:rPr lang="en-US" baseline="0"/>
            <a:t>Ratings and Reviews</a:t>
          </a:r>
          <a:endParaRPr lang="en-US"/>
        </a:p>
      </dgm:t>
    </dgm:pt>
    <dgm:pt modelId="{FEF570B7-897B-4E83-A3EB-8D8319659C7C}" type="parTrans" cxnId="{6983C009-E867-407D-81B4-2366D7490EF9}">
      <dgm:prSet/>
      <dgm:spPr/>
      <dgm:t>
        <a:bodyPr/>
        <a:lstStyle/>
        <a:p>
          <a:endParaRPr lang="en-US"/>
        </a:p>
      </dgm:t>
    </dgm:pt>
    <dgm:pt modelId="{769EF043-6075-4CEE-8BA7-96EACAD65288}" type="sibTrans" cxnId="{6983C009-E867-407D-81B4-2366D7490EF9}">
      <dgm:prSet/>
      <dgm:spPr/>
      <dgm:t>
        <a:bodyPr/>
        <a:lstStyle/>
        <a:p>
          <a:endParaRPr lang="en-US"/>
        </a:p>
      </dgm:t>
    </dgm:pt>
    <dgm:pt modelId="{021DF272-257E-4F1C-B694-2DC5A6E65C03}">
      <dgm:prSet/>
      <dgm:spPr/>
      <dgm:t>
        <a:bodyPr/>
        <a:lstStyle/>
        <a:p>
          <a:r>
            <a:rPr lang="en-US" baseline="0"/>
            <a:t>Billing models</a:t>
          </a:r>
          <a:endParaRPr lang="en-US"/>
        </a:p>
      </dgm:t>
    </dgm:pt>
    <dgm:pt modelId="{001A0728-6826-46D7-8AB4-15489055B261}" type="parTrans" cxnId="{098C774B-3C93-44B9-ABDB-CDE2A74970A8}">
      <dgm:prSet/>
      <dgm:spPr/>
      <dgm:t>
        <a:bodyPr/>
        <a:lstStyle/>
        <a:p>
          <a:endParaRPr lang="en-US"/>
        </a:p>
      </dgm:t>
    </dgm:pt>
    <dgm:pt modelId="{8C685A8F-47E2-4B01-AF11-FB65FE22B08C}" type="sibTrans" cxnId="{098C774B-3C93-44B9-ABDB-CDE2A74970A8}">
      <dgm:prSet/>
      <dgm:spPr/>
      <dgm:t>
        <a:bodyPr/>
        <a:lstStyle/>
        <a:p>
          <a:endParaRPr lang="en-US"/>
        </a:p>
      </dgm:t>
    </dgm:pt>
    <dgm:pt modelId="{B6CBCF18-849F-4DBC-B926-313BEAD75A5F}">
      <dgm:prSet/>
      <dgm:spPr/>
      <dgm:t>
        <a:bodyPr/>
        <a:lstStyle/>
        <a:p>
          <a:r>
            <a:rPr lang="en-US" baseline="0"/>
            <a:t>Monthly</a:t>
          </a:r>
          <a:endParaRPr lang="en-US"/>
        </a:p>
      </dgm:t>
    </dgm:pt>
    <dgm:pt modelId="{0CE3178A-B20D-4401-BF11-00FFB911619D}" type="parTrans" cxnId="{0805C693-0E4C-406E-A80E-64CB05E8C0D3}">
      <dgm:prSet/>
      <dgm:spPr/>
      <dgm:t>
        <a:bodyPr/>
        <a:lstStyle/>
        <a:p>
          <a:endParaRPr lang="en-US"/>
        </a:p>
      </dgm:t>
    </dgm:pt>
    <dgm:pt modelId="{F4B2E687-4185-4FE3-92CC-ABAAD75E05A0}" type="sibTrans" cxnId="{0805C693-0E4C-406E-A80E-64CB05E8C0D3}">
      <dgm:prSet/>
      <dgm:spPr/>
      <dgm:t>
        <a:bodyPr/>
        <a:lstStyle/>
        <a:p>
          <a:endParaRPr lang="en-US"/>
        </a:p>
      </dgm:t>
    </dgm:pt>
    <dgm:pt modelId="{5F9CE416-D637-4601-A8D9-CDB559635F86}">
      <dgm:prSet/>
      <dgm:spPr/>
      <dgm:t>
        <a:bodyPr/>
        <a:lstStyle/>
        <a:p>
          <a:r>
            <a:rPr lang="en-US" baseline="0"/>
            <a:t>Annual (multi-year)</a:t>
          </a:r>
          <a:endParaRPr lang="en-US"/>
        </a:p>
      </dgm:t>
    </dgm:pt>
    <dgm:pt modelId="{14183204-E0ED-44D6-8CB0-6BE48C0F33D3}" type="parTrans" cxnId="{069A2BF6-26BF-4A79-9211-53A22D8B1570}">
      <dgm:prSet/>
      <dgm:spPr/>
      <dgm:t>
        <a:bodyPr/>
        <a:lstStyle/>
        <a:p>
          <a:endParaRPr lang="en-US"/>
        </a:p>
      </dgm:t>
    </dgm:pt>
    <dgm:pt modelId="{32F3EDF9-AC76-4FE4-95B2-5B6EFC8D3B87}" type="sibTrans" cxnId="{069A2BF6-26BF-4A79-9211-53A22D8B1570}">
      <dgm:prSet/>
      <dgm:spPr/>
      <dgm:t>
        <a:bodyPr/>
        <a:lstStyle/>
        <a:p>
          <a:endParaRPr lang="en-US"/>
        </a:p>
      </dgm:t>
    </dgm:pt>
    <dgm:pt modelId="{07481B43-6243-4717-B461-F710361F1A72}" type="pres">
      <dgm:prSet presAssocID="{6703539A-C451-4D4F-82E8-F70AE3CBF536}" presName="Name0" presStyleCnt="0">
        <dgm:presLayoutVars>
          <dgm:dir/>
          <dgm:animLvl val="lvl"/>
          <dgm:resizeHandles val="exact"/>
        </dgm:presLayoutVars>
      </dgm:prSet>
      <dgm:spPr/>
    </dgm:pt>
    <dgm:pt modelId="{D5880FA1-F57C-4BCB-A0FC-981CD1DB4FCC}" type="pres">
      <dgm:prSet presAssocID="{278F678D-C476-4AF3-841A-929EB5AED855}" presName="composite" presStyleCnt="0"/>
      <dgm:spPr/>
    </dgm:pt>
    <dgm:pt modelId="{4B670BEC-6173-4E03-BA35-B9F4930FBEAF}" type="pres">
      <dgm:prSet presAssocID="{278F678D-C476-4AF3-841A-929EB5AED855}" presName="parTx" presStyleLbl="alignNode1" presStyleIdx="0" presStyleCnt="3">
        <dgm:presLayoutVars>
          <dgm:chMax val="0"/>
          <dgm:chPref val="0"/>
          <dgm:bulletEnabled val="1"/>
        </dgm:presLayoutVars>
      </dgm:prSet>
      <dgm:spPr/>
    </dgm:pt>
    <dgm:pt modelId="{5F19CBB4-8CCA-411A-9DBD-938E9C1C1CF8}" type="pres">
      <dgm:prSet presAssocID="{278F678D-C476-4AF3-841A-929EB5AED855}" presName="desTx" presStyleLbl="alignAccFollowNode1" presStyleIdx="0" presStyleCnt="3">
        <dgm:presLayoutVars>
          <dgm:bulletEnabled val="1"/>
        </dgm:presLayoutVars>
      </dgm:prSet>
      <dgm:spPr/>
    </dgm:pt>
    <dgm:pt modelId="{B992DBA0-ADC6-4D76-A0C5-6A4CA116AA47}" type="pres">
      <dgm:prSet presAssocID="{AFDB45C1-B4EB-48F5-BF78-E230E700F73E}" presName="space" presStyleCnt="0"/>
      <dgm:spPr/>
    </dgm:pt>
    <dgm:pt modelId="{172486B9-528D-4B41-B8A3-BDA0075ED2EF}" type="pres">
      <dgm:prSet presAssocID="{112E46B1-220A-4FA3-B0CD-68A76FFCFBF5}" presName="composite" presStyleCnt="0"/>
      <dgm:spPr/>
    </dgm:pt>
    <dgm:pt modelId="{18897E8A-AF04-4AEF-BDC6-973ECC40234D}" type="pres">
      <dgm:prSet presAssocID="{112E46B1-220A-4FA3-B0CD-68A76FFCFBF5}" presName="parTx" presStyleLbl="alignNode1" presStyleIdx="1" presStyleCnt="3">
        <dgm:presLayoutVars>
          <dgm:chMax val="0"/>
          <dgm:chPref val="0"/>
          <dgm:bulletEnabled val="1"/>
        </dgm:presLayoutVars>
      </dgm:prSet>
      <dgm:spPr/>
    </dgm:pt>
    <dgm:pt modelId="{DD7992A8-8ACA-4D2A-9436-5D53C8C5703C}" type="pres">
      <dgm:prSet presAssocID="{112E46B1-220A-4FA3-B0CD-68A76FFCFBF5}" presName="desTx" presStyleLbl="alignAccFollowNode1" presStyleIdx="1" presStyleCnt="3">
        <dgm:presLayoutVars>
          <dgm:bulletEnabled val="1"/>
        </dgm:presLayoutVars>
      </dgm:prSet>
      <dgm:spPr/>
    </dgm:pt>
    <dgm:pt modelId="{96809ECE-5985-4EAC-8291-32010E84165E}" type="pres">
      <dgm:prSet presAssocID="{851FD837-989D-4102-A645-025ACF4067C7}" presName="space" presStyleCnt="0"/>
      <dgm:spPr/>
    </dgm:pt>
    <dgm:pt modelId="{F10B1E92-B957-4E30-A64C-A7CB99C1B351}" type="pres">
      <dgm:prSet presAssocID="{021DF272-257E-4F1C-B694-2DC5A6E65C03}" presName="composite" presStyleCnt="0"/>
      <dgm:spPr/>
    </dgm:pt>
    <dgm:pt modelId="{79FCC723-F7C2-4D5F-B48C-2828B608E9D8}" type="pres">
      <dgm:prSet presAssocID="{021DF272-257E-4F1C-B694-2DC5A6E65C03}" presName="parTx" presStyleLbl="alignNode1" presStyleIdx="2" presStyleCnt="3">
        <dgm:presLayoutVars>
          <dgm:chMax val="0"/>
          <dgm:chPref val="0"/>
          <dgm:bulletEnabled val="1"/>
        </dgm:presLayoutVars>
      </dgm:prSet>
      <dgm:spPr/>
    </dgm:pt>
    <dgm:pt modelId="{6B01AB2C-A753-46EB-B68C-DFED4C49EA33}" type="pres">
      <dgm:prSet presAssocID="{021DF272-257E-4F1C-B694-2DC5A6E65C03}" presName="desTx" presStyleLbl="alignAccFollowNode1" presStyleIdx="2" presStyleCnt="3">
        <dgm:presLayoutVars>
          <dgm:bulletEnabled val="1"/>
        </dgm:presLayoutVars>
      </dgm:prSet>
      <dgm:spPr/>
    </dgm:pt>
  </dgm:ptLst>
  <dgm:cxnLst>
    <dgm:cxn modelId="{6983C009-E867-407D-81B4-2366D7490EF9}" srcId="{112E46B1-220A-4FA3-B0CD-68A76FFCFBF5}" destId="{14FE3DD9-39CB-449F-A157-B5519EAA6813}" srcOrd="5" destOrd="0" parTransId="{FEF570B7-897B-4E83-A3EB-8D8319659C7C}" sibTransId="{769EF043-6075-4CEE-8BA7-96EACAD65288}"/>
    <dgm:cxn modelId="{1627CC0A-6955-49CE-B5BE-9C9E27D52081}" type="presOf" srcId="{B6CBCF18-849F-4DBC-B926-313BEAD75A5F}" destId="{6B01AB2C-A753-46EB-B68C-DFED4C49EA33}" srcOrd="0" destOrd="0" presId="urn:microsoft.com/office/officeart/2005/8/layout/hList1"/>
    <dgm:cxn modelId="{60948029-9878-41EE-89A3-F14096D4AF0E}" srcId="{112E46B1-220A-4FA3-B0CD-68A76FFCFBF5}" destId="{97BF999A-7C1D-4AAE-9DF1-DC6E508AD797}" srcOrd="0" destOrd="0" parTransId="{379D80A5-D6AB-4AE8-B4B4-2B249900839C}" sibTransId="{97459120-8527-4C0E-BC86-10B4AB1E24F2}"/>
    <dgm:cxn modelId="{86D67B2D-2150-43D6-8B7D-3A2884EBB10A}" type="presOf" srcId="{5F9CE416-D637-4601-A8D9-CDB559635F86}" destId="{6B01AB2C-A753-46EB-B68C-DFED4C49EA33}" srcOrd="0" destOrd="1" presId="urn:microsoft.com/office/officeart/2005/8/layout/hList1"/>
    <dgm:cxn modelId="{B7E21732-6447-4B34-A13C-804732024A22}" type="presOf" srcId="{14FE3DD9-39CB-449F-A157-B5519EAA6813}" destId="{DD7992A8-8ACA-4D2A-9436-5D53C8C5703C}" srcOrd="0" destOrd="5" presId="urn:microsoft.com/office/officeart/2005/8/layout/hList1"/>
    <dgm:cxn modelId="{03121C39-0BD6-45C4-8239-E5AC37EFFDED}" type="presOf" srcId="{112E46B1-220A-4FA3-B0CD-68A76FFCFBF5}" destId="{18897E8A-AF04-4AEF-BDC6-973ECC40234D}" srcOrd="0" destOrd="0" presId="urn:microsoft.com/office/officeart/2005/8/layout/hList1"/>
    <dgm:cxn modelId="{9B5AC741-FA80-4151-B321-3152B6DAF97D}" type="presOf" srcId="{4D4F4495-9C54-4117-BEF5-507CE44372A1}" destId="{DD7992A8-8ACA-4D2A-9436-5D53C8C5703C}" srcOrd="0" destOrd="2" presId="urn:microsoft.com/office/officeart/2005/8/layout/hList1"/>
    <dgm:cxn modelId="{8D90DB68-0899-454B-A0CA-8463827AE685}" srcId="{278F678D-C476-4AF3-841A-929EB5AED855}" destId="{FBDDD1EC-2645-46AE-8DC7-D405BD6F166B}" srcOrd="0" destOrd="0" parTransId="{CB43CEA8-8DC4-4229-80E6-B263C51D0C65}" sibTransId="{AAB04276-062E-4D94-87E0-BF58E4E1C4A1}"/>
    <dgm:cxn modelId="{46243D69-6A76-469B-AE41-049C679E90FB}" type="presOf" srcId="{7CE79EF6-4695-4112-A977-588840D9EEF6}" destId="{5F19CBB4-8CCA-411A-9DBD-938E9C1C1CF8}" srcOrd="0" destOrd="1" presId="urn:microsoft.com/office/officeart/2005/8/layout/hList1"/>
    <dgm:cxn modelId="{098C774B-3C93-44B9-ABDB-CDE2A74970A8}" srcId="{6703539A-C451-4D4F-82E8-F70AE3CBF536}" destId="{021DF272-257E-4F1C-B694-2DC5A6E65C03}" srcOrd="2" destOrd="0" parTransId="{001A0728-6826-46D7-8AB4-15489055B261}" sibTransId="{8C685A8F-47E2-4B01-AF11-FB65FE22B08C}"/>
    <dgm:cxn modelId="{5AAFFE6C-50FB-40BB-A5F3-F1A03E5E5F0E}" srcId="{6703539A-C451-4D4F-82E8-F70AE3CBF536}" destId="{112E46B1-220A-4FA3-B0CD-68A76FFCFBF5}" srcOrd="1" destOrd="0" parTransId="{E9AFA68C-70C0-4487-810F-B749567D4E5A}" sibTransId="{851FD837-989D-4102-A645-025ACF4067C7}"/>
    <dgm:cxn modelId="{500E3371-EA37-4348-90BE-1852CB361348}" srcId="{112E46B1-220A-4FA3-B0CD-68A76FFCFBF5}" destId="{4D4F4495-9C54-4117-BEF5-507CE44372A1}" srcOrd="2" destOrd="0" parTransId="{617370E2-F35E-4623-B19B-4A60D29A8C00}" sibTransId="{43E8C58C-1112-4A0E-A1F0-90E076EFDFED}"/>
    <dgm:cxn modelId="{9E498158-1A56-44B4-BFE7-CAFBBC4A8353}" type="presOf" srcId="{DA31861B-D8B0-419A-87A8-DA8B1360BFF2}" destId="{DD7992A8-8ACA-4D2A-9436-5D53C8C5703C}" srcOrd="0" destOrd="3" presId="urn:microsoft.com/office/officeart/2005/8/layout/hList1"/>
    <dgm:cxn modelId="{809EF58F-D519-4FB7-B9FA-E814BC54FD31}" type="presOf" srcId="{7857722C-0440-452E-B6A5-04C8B5BE1878}" destId="{DD7992A8-8ACA-4D2A-9436-5D53C8C5703C}" srcOrd="0" destOrd="4" presId="urn:microsoft.com/office/officeart/2005/8/layout/hList1"/>
    <dgm:cxn modelId="{0805C693-0E4C-406E-A80E-64CB05E8C0D3}" srcId="{021DF272-257E-4F1C-B694-2DC5A6E65C03}" destId="{B6CBCF18-849F-4DBC-B926-313BEAD75A5F}" srcOrd="0" destOrd="0" parTransId="{0CE3178A-B20D-4401-BF11-00FFB911619D}" sibTransId="{F4B2E687-4185-4FE3-92CC-ABAAD75E05A0}"/>
    <dgm:cxn modelId="{24E5CB9B-64D3-425A-AE49-75E29D29EDDB}" srcId="{112E46B1-220A-4FA3-B0CD-68A76FFCFBF5}" destId="{DA31861B-D8B0-419A-87A8-DA8B1360BFF2}" srcOrd="3" destOrd="0" parTransId="{E87815B1-FF00-45A6-8CA2-006096C92705}" sibTransId="{8E3BBD21-24DC-4B51-8D1E-91F38985E32C}"/>
    <dgm:cxn modelId="{60A083A5-07D9-4C2A-AF33-15E04C4B36B3}" srcId="{278F678D-C476-4AF3-841A-929EB5AED855}" destId="{7CE79EF6-4695-4112-A977-588840D9EEF6}" srcOrd="1" destOrd="0" parTransId="{56C50CB8-68AB-43E1-AC14-DA9A9D44A3BC}" sibTransId="{96550C3E-884D-47BB-85D9-9914931719A1}"/>
    <dgm:cxn modelId="{F07CA8B7-C46E-4C70-BDC4-F613EBC5C99A}" type="presOf" srcId="{6703539A-C451-4D4F-82E8-F70AE3CBF536}" destId="{07481B43-6243-4717-B461-F710361F1A72}" srcOrd="0" destOrd="0" presId="urn:microsoft.com/office/officeart/2005/8/layout/hList1"/>
    <dgm:cxn modelId="{17BC04BA-B751-4C2A-A08B-DCF1A68E439A}" type="presOf" srcId="{97BF999A-7C1D-4AAE-9DF1-DC6E508AD797}" destId="{DD7992A8-8ACA-4D2A-9436-5D53C8C5703C}" srcOrd="0" destOrd="0" presId="urn:microsoft.com/office/officeart/2005/8/layout/hList1"/>
    <dgm:cxn modelId="{609BEECF-79AC-4159-814D-15E71CFAED1A}" type="presOf" srcId="{FBDDD1EC-2645-46AE-8DC7-D405BD6F166B}" destId="{5F19CBB4-8CCA-411A-9DBD-938E9C1C1CF8}" srcOrd="0" destOrd="0" presId="urn:microsoft.com/office/officeart/2005/8/layout/hList1"/>
    <dgm:cxn modelId="{5A4C9FDB-C5C3-4828-AF87-CD31119CF70A}" type="presOf" srcId="{021DF272-257E-4F1C-B694-2DC5A6E65C03}" destId="{79FCC723-F7C2-4D5F-B48C-2828B608E9D8}" srcOrd="0" destOrd="0" presId="urn:microsoft.com/office/officeart/2005/8/layout/hList1"/>
    <dgm:cxn modelId="{D25D60E3-F6FC-450B-A886-BCE17DC0C3FA}" srcId="{112E46B1-220A-4FA3-B0CD-68A76FFCFBF5}" destId="{4E2AB9A1-4D26-49D0-A2D2-521735979170}" srcOrd="1" destOrd="0" parTransId="{353E9B5B-203B-416D-BD1D-2204222A7E7E}" sibTransId="{59881ECB-D974-40A0-A65F-D8666E84E143}"/>
    <dgm:cxn modelId="{E24315E6-022B-40A4-B85D-C687F8304306}" srcId="{112E46B1-220A-4FA3-B0CD-68A76FFCFBF5}" destId="{7857722C-0440-452E-B6A5-04C8B5BE1878}" srcOrd="4" destOrd="0" parTransId="{CDCE4031-1537-4675-8DA4-3EBBAAD76FA2}" sibTransId="{F588C392-23FF-474C-967F-FAE02EF23085}"/>
    <dgm:cxn modelId="{045ABBE6-917D-41EC-A7B1-3E97F016FE15}" type="presOf" srcId="{4E2AB9A1-4D26-49D0-A2D2-521735979170}" destId="{DD7992A8-8ACA-4D2A-9436-5D53C8C5703C}" srcOrd="0" destOrd="1" presId="urn:microsoft.com/office/officeart/2005/8/layout/hList1"/>
    <dgm:cxn modelId="{069A2BF6-26BF-4A79-9211-53A22D8B1570}" srcId="{021DF272-257E-4F1C-B694-2DC5A6E65C03}" destId="{5F9CE416-D637-4601-A8D9-CDB559635F86}" srcOrd="1" destOrd="0" parTransId="{14183204-E0ED-44D6-8CB0-6BE48C0F33D3}" sibTransId="{32F3EDF9-AC76-4FE4-95B2-5B6EFC8D3B87}"/>
    <dgm:cxn modelId="{F6F98EFA-C1CD-451A-8BF1-E11FC7FDBE93}" srcId="{6703539A-C451-4D4F-82E8-F70AE3CBF536}" destId="{278F678D-C476-4AF3-841A-929EB5AED855}" srcOrd="0" destOrd="0" parTransId="{069090C3-FDED-4B18-B00D-D3ABA09A8763}" sibTransId="{AFDB45C1-B4EB-48F5-BF78-E230E700F73E}"/>
    <dgm:cxn modelId="{109CA0FE-E73F-4E0E-BD25-BDDB3F5992B8}" type="presOf" srcId="{278F678D-C476-4AF3-841A-929EB5AED855}" destId="{4B670BEC-6173-4E03-BA35-B9F4930FBEAF}" srcOrd="0" destOrd="0" presId="urn:microsoft.com/office/officeart/2005/8/layout/hList1"/>
    <dgm:cxn modelId="{9286E20F-E191-4EF2-B5A8-C80120291EF4}" type="presParOf" srcId="{07481B43-6243-4717-B461-F710361F1A72}" destId="{D5880FA1-F57C-4BCB-A0FC-981CD1DB4FCC}" srcOrd="0" destOrd="0" presId="urn:microsoft.com/office/officeart/2005/8/layout/hList1"/>
    <dgm:cxn modelId="{41EC27D2-11FB-44AA-82DE-FEB8775FA52C}" type="presParOf" srcId="{D5880FA1-F57C-4BCB-A0FC-981CD1DB4FCC}" destId="{4B670BEC-6173-4E03-BA35-B9F4930FBEAF}" srcOrd="0" destOrd="0" presId="urn:microsoft.com/office/officeart/2005/8/layout/hList1"/>
    <dgm:cxn modelId="{FD57BEF1-BEA4-426E-AF48-1D2314811BA9}" type="presParOf" srcId="{D5880FA1-F57C-4BCB-A0FC-981CD1DB4FCC}" destId="{5F19CBB4-8CCA-411A-9DBD-938E9C1C1CF8}" srcOrd="1" destOrd="0" presId="urn:microsoft.com/office/officeart/2005/8/layout/hList1"/>
    <dgm:cxn modelId="{61676B65-5209-425B-843A-362A65AD5D94}" type="presParOf" srcId="{07481B43-6243-4717-B461-F710361F1A72}" destId="{B992DBA0-ADC6-4D76-A0C5-6A4CA116AA47}" srcOrd="1" destOrd="0" presId="urn:microsoft.com/office/officeart/2005/8/layout/hList1"/>
    <dgm:cxn modelId="{4EE29AFF-757D-4E68-B07E-56EDDC36A664}" type="presParOf" srcId="{07481B43-6243-4717-B461-F710361F1A72}" destId="{172486B9-528D-4B41-B8A3-BDA0075ED2EF}" srcOrd="2" destOrd="0" presId="urn:microsoft.com/office/officeart/2005/8/layout/hList1"/>
    <dgm:cxn modelId="{5D9A3CD8-4711-43B0-A87D-C40DDF65376F}" type="presParOf" srcId="{172486B9-528D-4B41-B8A3-BDA0075ED2EF}" destId="{18897E8A-AF04-4AEF-BDC6-973ECC40234D}" srcOrd="0" destOrd="0" presId="urn:microsoft.com/office/officeart/2005/8/layout/hList1"/>
    <dgm:cxn modelId="{73D343A7-FBBC-4BBF-88EB-2B75F5E0E6E5}" type="presParOf" srcId="{172486B9-528D-4B41-B8A3-BDA0075ED2EF}" destId="{DD7992A8-8ACA-4D2A-9436-5D53C8C5703C}" srcOrd="1" destOrd="0" presId="urn:microsoft.com/office/officeart/2005/8/layout/hList1"/>
    <dgm:cxn modelId="{D8682DC5-C79B-4A5F-914C-9CBF79F6AD3B}" type="presParOf" srcId="{07481B43-6243-4717-B461-F710361F1A72}" destId="{96809ECE-5985-4EAC-8291-32010E84165E}" srcOrd="3" destOrd="0" presId="urn:microsoft.com/office/officeart/2005/8/layout/hList1"/>
    <dgm:cxn modelId="{CA43759F-D76B-49F4-8ACC-12E5C8E093BF}" type="presParOf" srcId="{07481B43-6243-4717-B461-F710361F1A72}" destId="{F10B1E92-B957-4E30-A64C-A7CB99C1B351}" srcOrd="4" destOrd="0" presId="urn:microsoft.com/office/officeart/2005/8/layout/hList1"/>
    <dgm:cxn modelId="{AAAC0DAB-560D-415E-8C9B-B194D14451A6}" type="presParOf" srcId="{F10B1E92-B957-4E30-A64C-A7CB99C1B351}" destId="{79FCC723-F7C2-4D5F-B48C-2828B608E9D8}" srcOrd="0" destOrd="0" presId="urn:microsoft.com/office/officeart/2005/8/layout/hList1"/>
    <dgm:cxn modelId="{72183E46-62BB-4F7F-84E5-21E62E99537D}" type="presParOf" srcId="{F10B1E92-B957-4E30-A64C-A7CB99C1B351}" destId="{6B01AB2C-A753-46EB-B68C-DFED4C49EA33}"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C85BBA68-C85C-484C-A67D-E41CA1F0D187}" type="doc">
      <dgm:prSet loTypeId="urn:microsoft.com/office/officeart/2005/8/layout/vList5" loCatId="list" qsTypeId="urn:microsoft.com/office/officeart/2005/8/quickstyle/simple4" qsCatId="simple" csTypeId="urn:microsoft.com/office/officeart/2005/8/colors/accent2_2" csCatId="accent2"/>
      <dgm:spPr/>
      <dgm:t>
        <a:bodyPr/>
        <a:lstStyle/>
        <a:p>
          <a:endParaRPr lang="en-US"/>
        </a:p>
      </dgm:t>
    </dgm:pt>
    <dgm:pt modelId="{820DBF23-6585-4192-A258-F31C3627A52A}">
      <dgm:prSet/>
      <dgm:spPr/>
      <dgm:t>
        <a:bodyPr/>
        <a:lstStyle/>
        <a:p>
          <a:r>
            <a:rPr lang="en-US" baseline="0"/>
            <a:t>Prerequisites</a:t>
          </a:r>
          <a:endParaRPr lang="en-US"/>
        </a:p>
      </dgm:t>
    </dgm:pt>
    <dgm:pt modelId="{4178A24A-4609-468F-B0E7-98897A2D611E}" type="parTrans" cxnId="{6501FB35-F47C-423F-A4D5-FB6C1D3BDE57}">
      <dgm:prSet/>
      <dgm:spPr/>
      <dgm:t>
        <a:bodyPr/>
        <a:lstStyle/>
        <a:p>
          <a:endParaRPr lang="en-US"/>
        </a:p>
      </dgm:t>
    </dgm:pt>
    <dgm:pt modelId="{EE8AC136-CB59-4B3F-AC9D-A608D0F8363A}" type="sibTrans" cxnId="{6501FB35-F47C-423F-A4D5-FB6C1D3BDE57}">
      <dgm:prSet/>
      <dgm:spPr/>
      <dgm:t>
        <a:bodyPr/>
        <a:lstStyle/>
        <a:p>
          <a:endParaRPr lang="en-US"/>
        </a:p>
      </dgm:t>
    </dgm:pt>
    <dgm:pt modelId="{C988D6E2-93CE-42FD-AE18-0BDC18279A3C}">
      <dgm:prSet/>
      <dgm:spPr/>
      <dgm:t>
        <a:bodyPr/>
        <a:lstStyle/>
        <a:p>
          <a:r>
            <a:rPr lang="en-US" baseline="0"/>
            <a:t>Install Azure PowerShell module</a:t>
          </a:r>
          <a:endParaRPr lang="en-US"/>
        </a:p>
      </dgm:t>
    </dgm:pt>
    <dgm:pt modelId="{4586A525-27A6-444B-AFD5-1E9622BAC06B}" type="parTrans" cxnId="{EC61EE26-CD98-4B37-9382-7C1AF9C15820}">
      <dgm:prSet/>
      <dgm:spPr/>
      <dgm:t>
        <a:bodyPr/>
        <a:lstStyle/>
        <a:p>
          <a:endParaRPr lang="en-US"/>
        </a:p>
      </dgm:t>
    </dgm:pt>
    <dgm:pt modelId="{C0DD1483-7A79-49B4-8172-0C933BE76DC8}" type="sibTrans" cxnId="{EC61EE26-CD98-4B37-9382-7C1AF9C15820}">
      <dgm:prSet/>
      <dgm:spPr/>
      <dgm:t>
        <a:bodyPr/>
        <a:lstStyle/>
        <a:p>
          <a:endParaRPr lang="en-US"/>
        </a:p>
      </dgm:t>
    </dgm:pt>
    <dgm:pt modelId="{87EFD8CE-359E-4A5C-B29F-C576E45E7CFD}">
      <dgm:prSet/>
      <dgm:spPr/>
      <dgm:t>
        <a:bodyPr/>
        <a:lstStyle/>
        <a:p>
          <a:r>
            <a:rPr lang="en-US" baseline="0"/>
            <a:t>https://learn.microsoft.com/en-us/powershell/azure/get-started-azureps</a:t>
          </a:r>
          <a:endParaRPr lang="en-US"/>
        </a:p>
      </dgm:t>
    </dgm:pt>
    <dgm:pt modelId="{87A25EA9-4D7E-4B5E-B32B-AE6CA57641B2}" type="parTrans" cxnId="{F43F3B9D-3019-49A8-9A15-9054ABBF268E}">
      <dgm:prSet/>
      <dgm:spPr/>
      <dgm:t>
        <a:bodyPr/>
        <a:lstStyle/>
        <a:p>
          <a:endParaRPr lang="en-US"/>
        </a:p>
      </dgm:t>
    </dgm:pt>
    <dgm:pt modelId="{E5CCF207-C820-4D91-A711-791448BCDD6E}" type="sibTrans" cxnId="{F43F3B9D-3019-49A8-9A15-9054ABBF268E}">
      <dgm:prSet/>
      <dgm:spPr/>
      <dgm:t>
        <a:bodyPr/>
        <a:lstStyle/>
        <a:p>
          <a:endParaRPr lang="en-US"/>
        </a:p>
      </dgm:t>
    </dgm:pt>
    <dgm:pt modelId="{07F598E7-411D-455F-A6EA-C08FE9A0BD1A}">
      <dgm:prSet/>
      <dgm:spPr/>
      <dgm:t>
        <a:bodyPr/>
        <a:lstStyle/>
        <a:p>
          <a:r>
            <a:rPr lang="en-US" baseline="0"/>
            <a:t>Connect to Azure with Connect-AZAccount command</a:t>
          </a:r>
          <a:endParaRPr lang="en-US"/>
        </a:p>
      </dgm:t>
    </dgm:pt>
    <dgm:pt modelId="{9B881E3E-8BF3-4C64-967A-C3B8638572E1}" type="parTrans" cxnId="{0D1A12D0-4F4B-40D0-8931-95866FA99A23}">
      <dgm:prSet/>
      <dgm:spPr/>
      <dgm:t>
        <a:bodyPr/>
        <a:lstStyle/>
        <a:p>
          <a:endParaRPr lang="en-US"/>
        </a:p>
      </dgm:t>
    </dgm:pt>
    <dgm:pt modelId="{D09927B4-BA45-4ABA-9C5D-AE3D2268E565}" type="sibTrans" cxnId="{0D1A12D0-4F4B-40D0-8931-95866FA99A23}">
      <dgm:prSet/>
      <dgm:spPr/>
      <dgm:t>
        <a:bodyPr/>
        <a:lstStyle/>
        <a:p>
          <a:endParaRPr lang="en-US"/>
        </a:p>
      </dgm:t>
    </dgm:pt>
    <dgm:pt modelId="{799329C6-384B-4B0C-9CBF-AC8176BCD3B1}">
      <dgm:prSet/>
      <dgm:spPr/>
      <dgm:t>
        <a:bodyPr/>
        <a:lstStyle/>
        <a:p>
          <a:r>
            <a:rPr lang="en-US" baseline="0"/>
            <a:t>Usage Information + Support</a:t>
          </a:r>
          <a:endParaRPr lang="en-US"/>
        </a:p>
      </dgm:t>
    </dgm:pt>
    <dgm:pt modelId="{A3DE5D9A-F15B-402B-99B5-5E090E105758}" type="parTrans" cxnId="{4F172443-AE44-42CE-9283-5E2D3EE474EF}">
      <dgm:prSet/>
      <dgm:spPr/>
      <dgm:t>
        <a:bodyPr/>
        <a:lstStyle/>
        <a:p>
          <a:endParaRPr lang="en-US"/>
        </a:p>
      </dgm:t>
    </dgm:pt>
    <dgm:pt modelId="{790A489B-DB2C-48D5-8C80-82EF44AC49D9}" type="sibTrans" cxnId="{4F172443-AE44-42CE-9283-5E2D3EE474EF}">
      <dgm:prSet/>
      <dgm:spPr/>
      <dgm:t>
        <a:bodyPr/>
        <a:lstStyle/>
        <a:p>
          <a:endParaRPr lang="en-US"/>
        </a:p>
      </dgm:t>
    </dgm:pt>
    <dgm:pt modelId="{0D4461FB-5C71-4040-85D7-B9E801A1B261}">
      <dgm:prSet/>
      <dgm:spPr/>
      <dgm:t>
        <a:bodyPr/>
        <a:lstStyle/>
        <a:p>
          <a:r>
            <a:rPr lang="en-US" baseline="0"/>
            <a:t>Information needed for PowerShell</a:t>
          </a:r>
          <a:endParaRPr lang="en-US"/>
        </a:p>
      </dgm:t>
    </dgm:pt>
    <dgm:pt modelId="{8F9EA60D-A682-4383-A75E-82F030E9156E}" type="parTrans" cxnId="{4E1FFA84-8F2A-4EF2-82CA-40199BADE105}">
      <dgm:prSet/>
      <dgm:spPr/>
      <dgm:t>
        <a:bodyPr/>
        <a:lstStyle/>
        <a:p>
          <a:endParaRPr lang="en-US"/>
        </a:p>
      </dgm:t>
    </dgm:pt>
    <dgm:pt modelId="{F3A184D7-6298-48D9-A051-8A75058F6D57}" type="sibTrans" cxnId="{4E1FFA84-8F2A-4EF2-82CA-40199BADE105}">
      <dgm:prSet/>
      <dgm:spPr/>
      <dgm:t>
        <a:bodyPr/>
        <a:lstStyle/>
        <a:p>
          <a:endParaRPr lang="en-US"/>
        </a:p>
      </dgm:t>
    </dgm:pt>
    <dgm:pt modelId="{F95B2220-361A-4EDD-A591-A0E2F562E813}">
      <dgm:prSet/>
      <dgm:spPr/>
      <dgm:t>
        <a:bodyPr/>
        <a:lstStyle/>
        <a:p>
          <a:r>
            <a:rPr lang="en-US" baseline="0"/>
            <a:t>Publisher ID</a:t>
          </a:r>
          <a:endParaRPr lang="en-US"/>
        </a:p>
      </dgm:t>
    </dgm:pt>
    <dgm:pt modelId="{9687775D-B6B8-4A47-A3C0-00826C0B8C77}" type="parTrans" cxnId="{368D612A-57BF-4A8B-8989-3ECD510FC5DF}">
      <dgm:prSet/>
      <dgm:spPr/>
      <dgm:t>
        <a:bodyPr/>
        <a:lstStyle/>
        <a:p>
          <a:endParaRPr lang="en-US"/>
        </a:p>
      </dgm:t>
    </dgm:pt>
    <dgm:pt modelId="{F3B69C9D-4D20-4382-BF82-DF3A09EE875D}" type="sibTrans" cxnId="{368D612A-57BF-4A8B-8989-3ECD510FC5DF}">
      <dgm:prSet/>
      <dgm:spPr/>
      <dgm:t>
        <a:bodyPr/>
        <a:lstStyle/>
        <a:p>
          <a:endParaRPr lang="en-US"/>
        </a:p>
      </dgm:t>
    </dgm:pt>
    <dgm:pt modelId="{EFDFBB16-9C9A-4E15-9FD8-3690BDBD035A}">
      <dgm:prSet/>
      <dgm:spPr/>
      <dgm:t>
        <a:bodyPr/>
        <a:lstStyle/>
        <a:p>
          <a:r>
            <a:rPr lang="en-US" baseline="0"/>
            <a:t>Product ID</a:t>
          </a:r>
          <a:endParaRPr lang="en-US"/>
        </a:p>
      </dgm:t>
    </dgm:pt>
    <dgm:pt modelId="{32C90026-DB65-42E3-A250-ED8152AFE79A}" type="parTrans" cxnId="{0A09E158-5433-44A7-A275-FD412D4CA279}">
      <dgm:prSet/>
      <dgm:spPr/>
      <dgm:t>
        <a:bodyPr/>
        <a:lstStyle/>
        <a:p>
          <a:endParaRPr lang="en-US"/>
        </a:p>
      </dgm:t>
    </dgm:pt>
    <dgm:pt modelId="{66341EA7-DB13-4F4E-BC51-2FB775071A86}" type="sibTrans" cxnId="{0A09E158-5433-44A7-A275-FD412D4CA279}">
      <dgm:prSet/>
      <dgm:spPr/>
      <dgm:t>
        <a:bodyPr/>
        <a:lstStyle/>
        <a:p>
          <a:endParaRPr lang="en-US"/>
        </a:p>
      </dgm:t>
    </dgm:pt>
    <dgm:pt modelId="{BE1C08F1-5929-407E-8C82-9C9FF30B1C7A}">
      <dgm:prSet/>
      <dgm:spPr/>
      <dgm:t>
        <a:bodyPr/>
        <a:lstStyle/>
        <a:p>
          <a:r>
            <a:rPr lang="en-US" baseline="0"/>
            <a:t>Plan ID</a:t>
          </a:r>
          <a:endParaRPr lang="en-US"/>
        </a:p>
      </dgm:t>
    </dgm:pt>
    <dgm:pt modelId="{49A66853-7403-4BF9-9488-984DF291BC43}" type="parTrans" cxnId="{9F1A1458-54FB-4A7F-A7AC-28877DB3AB81}">
      <dgm:prSet/>
      <dgm:spPr/>
      <dgm:t>
        <a:bodyPr/>
        <a:lstStyle/>
        <a:p>
          <a:endParaRPr lang="en-US"/>
        </a:p>
      </dgm:t>
    </dgm:pt>
    <dgm:pt modelId="{B2740F16-AF25-4F5C-97A8-9BC124F5F544}" type="sibTrans" cxnId="{9F1A1458-54FB-4A7F-A7AC-28877DB3AB81}">
      <dgm:prSet/>
      <dgm:spPr/>
      <dgm:t>
        <a:bodyPr/>
        <a:lstStyle/>
        <a:p>
          <a:endParaRPr lang="en-US"/>
        </a:p>
      </dgm:t>
    </dgm:pt>
    <dgm:pt modelId="{5233AD5A-7BFD-4D80-AE35-59902AC33E97}">
      <dgm:prSet/>
      <dgm:spPr/>
      <dgm:t>
        <a:bodyPr/>
        <a:lstStyle/>
        <a:p>
          <a:r>
            <a:rPr lang="en-US" baseline="0"/>
            <a:t>Other deployment options</a:t>
          </a:r>
          <a:endParaRPr lang="en-US"/>
        </a:p>
      </dgm:t>
    </dgm:pt>
    <dgm:pt modelId="{84365C8D-8270-47F1-AAF6-6249F8453164}" type="parTrans" cxnId="{13459787-5C51-4616-8A38-BBB125E833FF}">
      <dgm:prSet/>
      <dgm:spPr/>
      <dgm:t>
        <a:bodyPr/>
        <a:lstStyle/>
        <a:p>
          <a:endParaRPr lang="en-US"/>
        </a:p>
      </dgm:t>
    </dgm:pt>
    <dgm:pt modelId="{CABDE4B5-8EDA-4561-91BA-689FA361EEEB}" type="sibTrans" cxnId="{13459787-5C51-4616-8A38-BBB125E833FF}">
      <dgm:prSet/>
      <dgm:spPr/>
      <dgm:t>
        <a:bodyPr/>
        <a:lstStyle/>
        <a:p>
          <a:endParaRPr lang="en-US"/>
        </a:p>
      </dgm:t>
    </dgm:pt>
    <dgm:pt modelId="{138F89E5-2F55-4BBB-B737-507B5C9CBC34}">
      <dgm:prSet/>
      <dgm:spPr/>
      <dgm:t>
        <a:bodyPr/>
        <a:lstStyle/>
        <a:p>
          <a:r>
            <a:rPr lang="en-US" baseline="0"/>
            <a:t>Azure CLI</a:t>
          </a:r>
          <a:endParaRPr lang="en-US"/>
        </a:p>
      </dgm:t>
    </dgm:pt>
    <dgm:pt modelId="{7105EB6C-CBF5-46CE-A021-F8C2BAB77E5D}" type="parTrans" cxnId="{8D6A4C62-C05C-430C-8586-F04E6C545595}">
      <dgm:prSet/>
      <dgm:spPr/>
      <dgm:t>
        <a:bodyPr/>
        <a:lstStyle/>
        <a:p>
          <a:endParaRPr lang="en-US"/>
        </a:p>
      </dgm:t>
    </dgm:pt>
    <dgm:pt modelId="{260A98A3-8482-46C4-8982-19A8263252F3}" type="sibTrans" cxnId="{8D6A4C62-C05C-430C-8586-F04E6C545595}">
      <dgm:prSet/>
      <dgm:spPr/>
      <dgm:t>
        <a:bodyPr/>
        <a:lstStyle/>
        <a:p>
          <a:endParaRPr lang="en-US"/>
        </a:p>
      </dgm:t>
    </dgm:pt>
    <dgm:pt modelId="{848DCE86-F69D-44F6-BBE5-5636095FA717}">
      <dgm:prSet/>
      <dgm:spPr/>
      <dgm:t>
        <a:bodyPr/>
        <a:lstStyle/>
        <a:p>
          <a:r>
            <a:rPr lang="en-US" baseline="0"/>
            <a:t>Terraform</a:t>
          </a:r>
          <a:endParaRPr lang="en-US"/>
        </a:p>
      </dgm:t>
    </dgm:pt>
    <dgm:pt modelId="{88BCEF91-DA78-4E07-A527-9BC04EBABB0D}" type="parTrans" cxnId="{C22D5A39-3488-4ED8-9DFF-F6E532E16577}">
      <dgm:prSet/>
      <dgm:spPr/>
      <dgm:t>
        <a:bodyPr/>
        <a:lstStyle/>
        <a:p>
          <a:endParaRPr lang="en-US"/>
        </a:p>
      </dgm:t>
    </dgm:pt>
    <dgm:pt modelId="{ED6AD32B-39EE-422A-8764-7B5D45F45F3A}" type="sibTrans" cxnId="{C22D5A39-3488-4ED8-9DFF-F6E532E16577}">
      <dgm:prSet/>
      <dgm:spPr/>
      <dgm:t>
        <a:bodyPr/>
        <a:lstStyle/>
        <a:p>
          <a:endParaRPr lang="en-US"/>
        </a:p>
      </dgm:t>
    </dgm:pt>
    <dgm:pt modelId="{BEDD38B9-0777-47DB-8133-CE51CCC18AFC}" type="pres">
      <dgm:prSet presAssocID="{C85BBA68-C85C-484C-A67D-E41CA1F0D187}" presName="Name0" presStyleCnt="0">
        <dgm:presLayoutVars>
          <dgm:dir/>
          <dgm:animLvl val="lvl"/>
          <dgm:resizeHandles val="exact"/>
        </dgm:presLayoutVars>
      </dgm:prSet>
      <dgm:spPr/>
    </dgm:pt>
    <dgm:pt modelId="{1B8894A4-F345-439B-8B3C-9013B4A49026}" type="pres">
      <dgm:prSet presAssocID="{820DBF23-6585-4192-A258-F31C3627A52A}" presName="linNode" presStyleCnt="0"/>
      <dgm:spPr/>
    </dgm:pt>
    <dgm:pt modelId="{D3251CB0-99FB-4CE3-96C5-18A8B5F7B0C3}" type="pres">
      <dgm:prSet presAssocID="{820DBF23-6585-4192-A258-F31C3627A52A}" presName="parentText" presStyleLbl="node1" presStyleIdx="0" presStyleCnt="3">
        <dgm:presLayoutVars>
          <dgm:chMax val="1"/>
          <dgm:bulletEnabled val="1"/>
        </dgm:presLayoutVars>
      </dgm:prSet>
      <dgm:spPr/>
    </dgm:pt>
    <dgm:pt modelId="{AEFADD3C-A1B5-4D68-853B-212CDA71A881}" type="pres">
      <dgm:prSet presAssocID="{820DBF23-6585-4192-A258-F31C3627A52A}" presName="descendantText" presStyleLbl="alignAccFollowNode1" presStyleIdx="0" presStyleCnt="3">
        <dgm:presLayoutVars>
          <dgm:bulletEnabled val="1"/>
        </dgm:presLayoutVars>
      </dgm:prSet>
      <dgm:spPr/>
    </dgm:pt>
    <dgm:pt modelId="{30AD45FD-025B-455F-BAE9-15940BB30895}" type="pres">
      <dgm:prSet presAssocID="{EE8AC136-CB59-4B3F-AC9D-A608D0F8363A}" presName="sp" presStyleCnt="0"/>
      <dgm:spPr/>
    </dgm:pt>
    <dgm:pt modelId="{C0C22F04-3ADD-4735-A4FB-E9F3EA6151B7}" type="pres">
      <dgm:prSet presAssocID="{799329C6-384B-4B0C-9CBF-AC8176BCD3B1}" presName="linNode" presStyleCnt="0"/>
      <dgm:spPr/>
    </dgm:pt>
    <dgm:pt modelId="{7735BBAA-B145-429A-A7C6-EF0BB3482726}" type="pres">
      <dgm:prSet presAssocID="{799329C6-384B-4B0C-9CBF-AC8176BCD3B1}" presName="parentText" presStyleLbl="node1" presStyleIdx="1" presStyleCnt="3">
        <dgm:presLayoutVars>
          <dgm:chMax val="1"/>
          <dgm:bulletEnabled val="1"/>
        </dgm:presLayoutVars>
      </dgm:prSet>
      <dgm:spPr/>
    </dgm:pt>
    <dgm:pt modelId="{553427E3-ABC7-4853-B128-320BFEBCD9AE}" type="pres">
      <dgm:prSet presAssocID="{799329C6-384B-4B0C-9CBF-AC8176BCD3B1}" presName="descendantText" presStyleLbl="alignAccFollowNode1" presStyleIdx="1" presStyleCnt="3">
        <dgm:presLayoutVars>
          <dgm:bulletEnabled val="1"/>
        </dgm:presLayoutVars>
      </dgm:prSet>
      <dgm:spPr/>
    </dgm:pt>
    <dgm:pt modelId="{30E19A31-FC0C-49D7-8784-E3CF4640143A}" type="pres">
      <dgm:prSet presAssocID="{790A489B-DB2C-48D5-8C80-82EF44AC49D9}" presName="sp" presStyleCnt="0"/>
      <dgm:spPr/>
    </dgm:pt>
    <dgm:pt modelId="{ADC44853-3B36-49AF-9386-012AF94EF20E}" type="pres">
      <dgm:prSet presAssocID="{5233AD5A-7BFD-4D80-AE35-59902AC33E97}" presName="linNode" presStyleCnt="0"/>
      <dgm:spPr/>
    </dgm:pt>
    <dgm:pt modelId="{5F964A1F-D92B-42DE-922B-D9697E21A213}" type="pres">
      <dgm:prSet presAssocID="{5233AD5A-7BFD-4D80-AE35-59902AC33E97}" presName="parentText" presStyleLbl="node1" presStyleIdx="2" presStyleCnt="3">
        <dgm:presLayoutVars>
          <dgm:chMax val="1"/>
          <dgm:bulletEnabled val="1"/>
        </dgm:presLayoutVars>
      </dgm:prSet>
      <dgm:spPr/>
    </dgm:pt>
    <dgm:pt modelId="{2B888B18-5AE3-4B08-90F4-FBA6BC237890}" type="pres">
      <dgm:prSet presAssocID="{5233AD5A-7BFD-4D80-AE35-59902AC33E97}" presName="descendantText" presStyleLbl="alignAccFollowNode1" presStyleIdx="2" presStyleCnt="3">
        <dgm:presLayoutVars>
          <dgm:bulletEnabled val="1"/>
        </dgm:presLayoutVars>
      </dgm:prSet>
      <dgm:spPr/>
    </dgm:pt>
  </dgm:ptLst>
  <dgm:cxnLst>
    <dgm:cxn modelId="{C113660A-EDF8-4C61-A361-76D1FAF60302}" type="presOf" srcId="{799329C6-384B-4B0C-9CBF-AC8176BCD3B1}" destId="{7735BBAA-B145-429A-A7C6-EF0BB3482726}" srcOrd="0" destOrd="0" presId="urn:microsoft.com/office/officeart/2005/8/layout/vList5"/>
    <dgm:cxn modelId="{EC61EE26-CD98-4B37-9382-7C1AF9C15820}" srcId="{820DBF23-6585-4192-A258-F31C3627A52A}" destId="{C988D6E2-93CE-42FD-AE18-0BDC18279A3C}" srcOrd="0" destOrd="0" parTransId="{4586A525-27A6-444B-AFD5-1E9622BAC06B}" sibTransId="{C0DD1483-7A79-49B4-8172-0C933BE76DC8}"/>
    <dgm:cxn modelId="{368D612A-57BF-4A8B-8989-3ECD510FC5DF}" srcId="{0D4461FB-5C71-4040-85D7-B9E801A1B261}" destId="{F95B2220-361A-4EDD-A591-A0E2F562E813}" srcOrd="0" destOrd="0" parTransId="{9687775D-B6B8-4A47-A3C0-00826C0B8C77}" sibTransId="{F3B69C9D-4D20-4382-BF82-DF3A09EE875D}"/>
    <dgm:cxn modelId="{6501FB35-F47C-423F-A4D5-FB6C1D3BDE57}" srcId="{C85BBA68-C85C-484C-A67D-E41CA1F0D187}" destId="{820DBF23-6585-4192-A258-F31C3627A52A}" srcOrd="0" destOrd="0" parTransId="{4178A24A-4609-468F-B0E7-98897A2D611E}" sibTransId="{EE8AC136-CB59-4B3F-AC9D-A608D0F8363A}"/>
    <dgm:cxn modelId="{C22D5A39-3488-4ED8-9DFF-F6E532E16577}" srcId="{5233AD5A-7BFD-4D80-AE35-59902AC33E97}" destId="{848DCE86-F69D-44F6-BBE5-5636095FA717}" srcOrd="1" destOrd="0" parTransId="{88BCEF91-DA78-4E07-A527-9BC04EBABB0D}" sibTransId="{ED6AD32B-39EE-422A-8764-7B5D45F45F3A}"/>
    <dgm:cxn modelId="{8D6A4C62-C05C-430C-8586-F04E6C545595}" srcId="{5233AD5A-7BFD-4D80-AE35-59902AC33E97}" destId="{138F89E5-2F55-4BBB-B737-507B5C9CBC34}" srcOrd="0" destOrd="0" parTransId="{7105EB6C-CBF5-46CE-A021-F8C2BAB77E5D}" sibTransId="{260A98A3-8482-46C4-8982-19A8263252F3}"/>
    <dgm:cxn modelId="{4F172443-AE44-42CE-9283-5E2D3EE474EF}" srcId="{C85BBA68-C85C-484C-A67D-E41CA1F0D187}" destId="{799329C6-384B-4B0C-9CBF-AC8176BCD3B1}" srcOrd="1" destOrd="0" parTransId="{A3DE5D9A-F15B-402B-99B5-5E090E105758}" sibTransId="{790A489B-DB2C-48D5-8C80-82EF44AC49D9}"/>
    <dgm:cxn modelId="{F2ED4448-4D71-4ACD-B904-CE662F8FFEA5}" type="presOf" srcId="{C85BBA68-C85C-484C-A67D-E41CA1F0D187}" destId="{BEDD38B9-0777-47DB-8133-CE51CCC18AFC}" srcOrd="0" destOrd="0" presId="urn:microsoft.com/office/officeart/2005/8/layout/vList5"/>
    <dgm:cxn modelId="{A92A2A52-98B7-4E73-93BE-568E474AAB73}" type="presOf" srcId="{F95B2220-361A-4EDD-A591-A0E2F562E813}" destId="{553427E3-ABC7-4853-B128-320BFEBCD9AE}" srcOrd="0" destOrd="1" presId="urn:microsoft.com/office/officeart/2005/8/layout/vList5"/>
    <dgm:cxn modelId="{9F1A1458-54FB-4A7F-A7AC-28877DB3AB81}" srcId="{0D4461FB-5C71-4040-85D7-B9E801A1B261}" destId="{BE1C08F1-5929-407E-8C82-9C9FF30B1C7A}" srcOrd="2" destOrd="0" parTransId="{49A66853-7403-4BF9-9488-984DF291BC43}" sibTransId="{B2740F16-AF25-4F5C-97A8-9BC124F5F544}"/>
    <dgm:cxn modelId="{0A09E158-5433-44A7-A275-FD412D4CA279}" srcId="{0D4461FB-5C71-4040-85D7-B9E801A1B261}" destId="{EFDFBB16-9C9A-4E15-9FD8-3690BDBD035A}" srcOrd="1" destOrd="0" parTransId="{32C90026-DB65-42E3-A250-ED8152AFE79A}" sibTransId="{66341EA7-DB13-4F4E-BC51-2FB775071A86}"/>
    <dgm:cxn modelId="{4E1FFA84-8F2A-4EF2-82CA-40199BADE105}" srcId="{799329C6-384B-4B0C-9CBF-AC8176BCD3B1}" destId="{0D4461FB-5C71-4040-85D7-B9E801A1B261}" srcOrd="0" destOrd="0" parTransId="{8F9EA60D-A682-4383-A75E-82F030E9156E}" sibTransId="{F3A184D7-6298-48D9-A051-8A75058F6D57}"/>
    <dgm:cxn modelId="{13459787-5C51-4616-8A38-BBB125E833FF}" srcId="{C85BBA68-C85C-484C-A67D-E41CA1F0D187}" destId="{5233AD5A-7BFD-4D80-AE35-59902AC33E97}" srcOrd="2" destOrd="0" parTransId="{84365C8D-8270-47F1-AAF6-6249F8453164}" sibTransId="{CABDE4B5-8EDA-4561-91BA-689FA361EEEB}"/>
    <dgm:cxn modelId="{23A7508C-EF26-4447-B5C6-920E49481E8F}" type="presOf" srcId="{5233AD5A-7BFD-4D80-AE35-59902AC33E97}" destId="{5F964A1F-D92B-42DE-922B-D9697E21A213}" srcOrd="0" destOrd="0" presId="urn:microsoft.com/office/officeart/2005/8/layout/vList5"/>
    <dgm:cxn modelId="{57D5E98F-8145-47BE-904D-21694CC32FD7}" type="presOf" srcId="{138F89E5-2F55-4BBB-B737-507B5C9CBC34}" destId="{2B888B18-5AE3-4B08-90F4-FBA6BC237890}" srcOrd="0" destOrd="0" presId="urn:microsoft.com/office/officeart/2005/8/layout/vList5"/>
    <dgm:cxn modelId="{2375DE97-FEAB-449B-ADE2-088F2AD40FF2}" type="presOf" srcId="{820DBF23-6585-4192-A258-F31C3627A52A}" destId="{D3251CB0-99FB-4CE3-96C5-18A8B5F7B0C3}" srcOrd="0" destOrd="0" presId="urn:microsoft.com/office/officeart/2005/8/layout/vList5"/>
    <dgm:cxn modelId="{F43F3B9D-3019-49A8-9A15-9054ABBF268E}" srcId="{C988D6E2-93CE-42FD-AE18-0BDC18279A3C}" destId="{87EFD8CE-359E-4A5C-B29F-C576E45E7CFD}" srcOrd="0" destOrd="0" parTransId="{87A25EA9-4D7E-4B5E-B32B-AE6CA57641B2}" sibTransId="{E5CCF207-C820-4D91-A711-791448BCDD6E}"/>
    <dgm:cxn modelId="{16FE42A5-7279-46AC-8634-34942BCF059F}" type="presOf" srcId="{C988D6E2-93CE-42FD-AE18-0BDC18279A3C}" destId="{AEFADD3C-A1B5-4D68-853B-212CDA71A881}" srcOrd="0" destOrd="0" presId="urn:microsoft.com/office/officeart/2005/8/layout/vList5"/>
    <dgm:cxn modelId="{689EC1B0-FBAB-403D-A718-892EBAB14BB9}" type="presOf" srcId="{07F598E7-411D-455F-A6EA-C08FE9A0BD1A}" destId="{AEFADD3C-A1B5-4D68-853B-212CDA71A881}" srcOrd="0" destOrd="2" presId="urn:microsoft.com/office/officeart/2005/8/layout/vList5"/>
    <dgm:cxn modelId="{C63291B4-EC8E-4B23-A756-FA3C5E4AA1BC}" type="presOf" srcId="{BE1C08F1-5929-407E-8C82-9C9FF30B1C7A}" destId="{553427E3-ABC7-4853-B128-320BFEBCD9AE}" srcOrd="0" destOrd="3" presId="urn:microsoft.com/office/officeart/2005/8/layout/vList5"/>
    <dgm:cxn modelId="{0307C6C2-1139-47C4-8F37-8AEC8BF649D2}" type="presOf" srcId="{0D4461FB-5C71-4040-85D7-B9E801A1B261}" destId="{553427E3-ABC7-4853-B128-320BFEBCD9AE}" srcOrd="0" destOrd="0" presId="urn:microsoft.com/office/officeart/2005/8/layout/vList5"/>
    <dgm:cxn modelId="{41B6FCC2-6BF0-4BF6-B957-2E8BB1A0C41F}" type="presOf" srcId="{87EFD8CE-359E-4A5C-B29F-C576E45E7CFD}" destId="{AEFADD3C-A1B5-4D68-853B-212CDA71A881}" srcOrd="0" destOrd="1" presId="urn:microsoft.com/office/officeart/2005/8/layout/vList5"/>
    <dgm:cxn modelId="{0D1A12D0-4F4B-40D0-8931-95866FA99A23}" srcId="{820DBF23-6585-4192-A258-F31C3627A52A}" destId="{07F598E7-411D-455F-A6EA-C08FE9A0BD1A}" srcOrd="1" destOrd="0" parTransId="{9B881E3E-8BF3-4C64-967A-C3B8638572E1}" sibTransId="{D09927B4-BA45-4ABA-9C5D-AE3D2268E565}"/>
    <dgm:cxn modelId="{432A2DEC-C6C8-4FEE-99F2-00DECA45F386}" type="presOf" srcId="{EFDFBB16-9C9A-4E15-9FD8-3690BDBD035A}" destId="{553427E3-ABC7-4853-B128-320BFEBCD9AE}" srcOrd="0" destOrd="2" presId="urn:microsoft.com/office/officeart/2005/8/layout/vList5"/>
    <dgm:cxn modelId="{48BCAFF5-CCA3-42DC-90C6-A9F56995D658}" type="presOf" srcId="{848DCE86-F69D-44F6-BBE5-5636095FA717}" destId="{2B888B18-5AE3-4B08-90F4-FBA6BC237890}" srcOrd="0" destOrd="1" presId="urn:microsoft.com/office/officeart/2005/8/layout/vList5"/>
    <dgm:cxn modelId="{065AD132-765F-4FD5-A533-502BC4767C99}" type="presParOf" srcId="{BEDD38B9-0777-47DB-8133-CE51CCC18AFC}" destId="{1B8894A4-F345-439B-8B3C-9013B4A49026}" srcOrd="0" destOrd="0" presId="urn:microsoft.com/office/officeart/2005/8/layout/vList5"/>
    <dgm:cxn modelId="{34636960-1521-490D-82C1-FD0139EF1129}" type="presParOf" srcId="{1B8894A4-F345-439B-8B3C-9013B4A49026}" destId="{D3251CB0-99FB-4CE3-96C5-18A8B5F7B0C3}" srcOrd="0" destOrd="0" presId="urn:microsoft.com/office/officeart/2005/8/layout/vList5"/>
    <dgm:cxn modelId="{BA243126-886C-43ED-884D-1FECD4342108}" type="presParOf" srcId="{1B8894A4-F345-439B-8B3C-9013B4A49026}" destId="{AEFADD3C-A1B5-4D68-853B-212CDA71A881}" srcOrd="1" destOrd="0" presId="urn:microsoft.com/office/officeart/2005/8/layout/vList5"/>
    <dgm:cxn modelId="{04FA2330-F505-4A7B-8A84-4BD538BA3E8C}" type="presParOf" srcId="{BEDD38B9-0777-47DB-8133-CE51CCC18AFC}" destId="{30AD45FD-025B-455F-BAE9-15940BB30895}" srcOrd="1" destOrd="0" presId="urn:microsoft.com/office/officeart/2005/8/layout/vList5"/>
    <dgm:cxn modelId="{EF34B0B4-5B31-47E5-A565-6B46691C8359}" type="presParOf" srcId="{BEDD38B9-0777-47DB-8133-CE51CCC18AFC}" destId="{C0C22F04-3ADD-4735-A4FB-E9F3EA6151B7}" srcOrd="2" destOrd="0" presId="urn:microsoft.com/office/officeart/2005/8/layout/vList5"/>
    <dgm:cxn modelId="{C9029909-596F-412B-ACB3-3BDD2CB06483}" type="presParOf" srcId="{C0C22F04-3ADD-4735-A4FB-E9F3EA6151B7}" destId="{7735BBAA-B145-429A-A7C6-EF0BB3482726}" srcOrd="0" destOrd="0" presId="urn:microsoft.com/office/officeart/2005/8/layout/vList5"/>
    <dgm:cxn modelId="{95B086CC-6410-4512-B87A-50D7A01296AF}" type="presParOf" srcId="{C0C22F04-3ADD-4735-A4FB-E9F3EA6151B7}" destId="{553427E3-ABC7-4853-B128-320BFEBCD9AE}" srcOrd="1" destOrd="0" presId="urn:microsoft.com/office/officeart/2005/8/layout/vList5"/>
    <dgm:cxn modelId="{D3883DAA-5E29-4B06-BBA3-2F288D05CE9F}" type="presParOf" srcId="{BEDD38B9-0777-47DB-8133-CE51CCC18AFC}" destId="{30E19A31-FC0C-49D7-8784-E3CF4640143A}" srcOrd="3" destOrd="0" presId="urn:microsoft.com/office/officeart/2005/8/layout/vList5"/>
    <dgm:cxn modelId="{9ABF0078-2218-4726-93F1-C9FFF9B985D7}" type="presParOf" srcId="{BEDD38B9-0777-47DB-8133-CE51CCC18AFC}" destId="{ADC44853-3B36-49AF-9386-012AF94EF20E}" srcOrd="4" destOrd="0" presId="urn:microsoft.com/office/officeart/2005/8/layout/vList5"/>
    <dgm:cxn modelId="{1180E957-65B9-4413-AE98-F8C889333973}" type="presParOf" srcId="{ADC44853-3B36-49AF-9386-012AF94EF20E}" destId="{5F964A1F-D92B-42DE-922B-D9697E21A213}" srcOrd="0" destOrd="0" presId="urn:microsoft.com/office/officeart/2005/8/layout/vList5"/>
    <dgm:cxn modelId="{AB6659F9-B97E-40D0-A26C-4AB6DE87EC49}" type="presParOf" srcId="{ADC44853-3B36-49AF-9386-012AF94EF20E}" destId="{2B888B18-5AE3-4B08-90F4-FBA6BC237890}"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540D88EE-F386-4269-A059-8107BF0608B0}" type="doc">
      <dgm:prSet loTypeId="urn:microsoft.com/office/officeart/2005/8/layout/vList2" loCatId="list" qsTypeId="urn:microsoft.com/office/officeart/2005/8/quickstyle/simple1" qsCatId="simple" csTypeId="urn:microsoft.com/office/officeart/2005/8/colors/accent2_2" csCatId="accent2" phldr="1"/>
      <dgm:spPr/>
      <dgm:t>
        <a:bodyPr/>
        <a:lstStyle/>
        <a:p>
          <a:endParaRPr lang="en-US"/>
        </a:p>
      </dgm:t>
    </dgm:pt>
    <dgm:pt modelId="{BE956F50-3952-4472-A27E-45448227CE8E}">
      <dgm:prSet/>
      <dgm:spPr/>
      <dgm:t>
        <a:bodyPr/>
        <a:lstStyle/>
        <a:p>
          <a:r>
            <a:rPr lang="en-US"/>
            <a:t>Managing purchases depends on the method of purchase</a:t>
          </a:r>
        </a:p>
      </dgm:t>
    </dgm:pt>
    <dgm:pt modelId="{1C8E3D05-F6D8-4120-BC2F-45E99564EC8A}" type="parTrans" cxnId="{8D46D0BB-18C3-407B-8D86-92713ECA536E}">
      <dgm:prSet/>
      <dgm:spPr/>
      <dgm:t>
        <a:bodyPr/>
        <a:lstStyle/>
        <a:p>
          <a:endParaRPr lang="en-US"/>
        </a:p>
      </dgm:t>
    </dgm:pt>
    <dgm:pt modelId="{DC600C8E-1098-48BB-BABD-3CBC0459BBD7}" type="sibTrans" cxnId="{8D46D0BB-18C3-407B-8D86-92713ECA536E}">
      <dgm:prSet/>
      <dgm:spPr/>
      <dgm:t>
        <a:bodyPr/>
        <a:lstStyle/>
        <a:p>
          <a:endParaRPr lang="en-US"/>
        </a:p>
      </dgm:t>
    </dgm:pt>
    <dgm:pt modelId="{9227FA6B-5FA8-4CF4-9444-4C11ECBF5874}">
      <dgm:prSet/>
      <dgm:spPr/>
      <dgm:t>
        <a:bodyPr/>
        <a:lstStyle/>
        <a:p>
          <a:r>
            <a:rPr lang="en-US"/>
            <a:t>Purchase in Azure portal, manage in Azure portal</a:t>
          </a:r>
        </a:p>
      </dgm:t>
    </dgm:pt>
    <dgm:pt modelId="{CC5F9D4C-64EB-4D65-879C-0C1B3CDC43D0}" type="parTrans" cxnId="{6F89E841-80D8-4A13-A199-535B533391ED}">
      <dgm:prSet/>
      <dgm:spPr/>
      <dgm:t>
        <a:bodyPr/>
        <a:lstStyle/>
        <a:p>
          <a:endParaRPr lang="en-US"/>
        </a:p>
      </dgm:t>
    </dgm:pt>
    <dgm:pt modelId="{0FCB553F-BF5C-42E5-BD47-9B79EF8D2EFB}" type="sibTrans" cxnId="{6F89E841-80D8-4A13-A199-535B533391ED}">
      <dgm:prSet/>
      <dgm:spPr/>
      <dgm:t>
        <a:bodyPr/>
        <a:lstStyle/>
        <a:p>
          <a:endParaRPr lang="en-US"/>
        </a:p>
      </dgm:t>
    </dgm:pt>
    <dgm:pt modelId="{C9D34AD4-18AB-433B-899E-745282AA12F5}">
      <dgm:prSet/>
      <dgm:spPr/>
      <dgm:t>
        <a:bodyPr/>
        <a:lstStyle/>
        <a:p>
          <a:r>
            <a:rPr lang="en-US"/>
            <a:t>Purchase in AppSource, manage in Microsoft 365 Admin Center</a:t>
          </a:r>
        </a:p>
      </dgm:t>
    </dgm:pt>
    <dgm:pt modelId="{99B12287-D19E-4509-B409-8709B6AD2E89}" type="parTrans" cxnId="{C9ECDFC8-AC7F-4981-89A2-136599646D74}">
      <dgm:prSet/>
      <dgm:spPr/>
      <dgm:t>
        <a:bodyPr/>
        <a:lstStyle/>
        <a:p>
          <a:endParaRPr lang="en-US"/>
        </a:p>
      </dgm:t>
    </dgm:pt>
    <dgm:pt modelId="{9784DE59-05D3-42C8-B114-380431B4BB98}" type="sibTrans" cxnId="{C9ECDFC8-AC7F-4981-89A2-136599646D74}">
      <dgm:prSet/>
      <dgm:spPr/>
      <dgm:t>
        <a:bodyPr/>
        <a:lstStyle/>
        <a:p>
          <a:endParaRPr lang="en-US"/>
        </a:p>
      </dgm:t>
    </dgm:pt>
    <dgm:pt modelId="{A8B54D55-4788-44FA-8FCF-24E592FC2B3E}">
      <dgm:prSet/>
      <dgm:spPr/>
      <dgm:t>
        <a:bodyPr/>
        <a:lstStyle/>
        <a:p>
          <a:r>
            <a:rPr lang="en-US" dirty="0"/>
            <a:t>Microsoft partner solutions may be in Microsoft portals on in their own admin portal</a:t>
          </a:r>
        </a:p>
      </dgm:t>
    </dgm:pt>
    <dgm:pt modelId="{EDBC758B-2C6C-4AE2-91F6-2F2F51E77633}" type="parTrans" cxnId="{80E4B977-CED0-4F36-886D-127643998EE1}">
      <dgm:prSet/>
      <dgm:spPr/>
      <dgm:t>
        <a:bodyPr/>
        <a:lstStyle/>
        <a:p>
          <a:endParaRPr lang="en-US"/>
        </a:p>
      </dgm:t>
    </dgm:pt>
    <dgm:pt modelId="{AA1F3FBD-BB72-4DDC-81DC-3E04E1667E2D}" type="sibTrans" cxnId="{80E4B977-CED0-4F36-886D-127643998EE1}">
      <dgm:prSet/>
      <dgm:spPr/>
      <dgm:t>
        <a:bodyPr/>
        <a:lstStyle/>
        <a:p>
          <a:endParaRPr lang="en-US"/>
        </a:p>
      </dgm:t>
    </dgm:pt>
    <dgm:pt modelId="{D4814765-229A-49B4-B2AD-2CCAF3EA1CA7}">
      <dgm:prSet/>
      <dgm:spPr/>
      <dgm:t>
        <a:bodyPr/>
        <a:lstStyle/>
        <a:p>
          <a:r>
            <a:rPr lang="en-US"/>
            <a:t>Changing plans</a:t>
          </a:r>
        </a:p>
      </dgm:t>
    </dgm:pt>
    <dgm:pt modelId="{633F1549-B632-408D-BFBB-24677DFBE35C}" type="parTrans" cxnId="{6067AEA9-D752-4196-958D-BCE84F1F4F71}">
      <dgm:prSet/>
      <dgm:spPr/>
      <dgm:t>
        <a:bodyPr/>
        <a:lstStyle/>
        <a:p>
          <a:endParaRPr lang="en-US"/>
        </a:p>
      </dgm:t>
    </dgm:pt>
    <dgm:pt modelId="{3B8437E7-7493-4708-9573-232FE4C4B021}" type="sibTrans" cxnId="{6067AEA9-D752-4196-958D-BCE84F1F4F71}">
      <dgm:prSet/>
      <dgm:spPr/>
      <dgm:t>
        <a:bodyPr/>
        <a:lstStyle/>
        <a:p>
          <a:endParaRPr lang="en-US"/>
        </a:p>
      </dgm:t>
    </dgm:pt>
    <dgm:pt modelId="{B26D4189-5D29-46CF-B8D0-E68D3C55A6EE}">
      <dgm:prSet/>
      <dgm:spPr/>
      <dgm:t>
        <a:bodyPr/>
        <a:lstStyle/>
        <a:p>
          <a:r>
            <a:rPr lang="en-US"/>
            <a:t>Requires Owner or Contributor role permissions</a:t>
          </a:r>
        </a:p>
      </dgm:t>
    </dgm:pt>
    <dgm:pt modelId="{14BF2549-910D-4DBF-8729-85095E65B7DA}" type="parTrans" cxnId="{19B614A2-A4A1-4E2A-828A-D35A6F98E77F}">
      <dgm:prSet/>
      <dgm:spPr/>
      <dgm:t>
        <a:bodyPr/>
        <a:lstStyle/>
        <a:p>
          <a:endParaRPr lang="en-US"/>
        </a:p>
      </dgm:t>
    </dgm:pt>
    <dgm:pt modelId="{41105B2D-660C-46E6-B2C4-5CCFFA3F67AE}" type="sibTrans" cxnId="{19B614A2-A4A1-4E2A-828A-D35A6F98E77F}">
      <dgm:prSet/>
      <dgm:spPr/>
      <dgm:t>
        <a:bodyPr/>
        <a:lstStyle/>
        <a:p>
          <a:endParaRPr lang="en-US"/>
        </a:p>
      </dgm:t>
    </dgm:pt>
    <dgm:pt modelId="{70BBF699-D503-4705-829F-E0D0A8C5D0C9}" type="pres">
      <dgm:prSet presAssocID="{540D88EE-F386-4269-A059-8107BF0608B0}" presName="linear" presStyleCnt="0">
        <dgm:presLayoutVars>
          <dgm:animLvl val="lvl"/>
          <dgm:resizeHandles val="exact"/>
        </dgm:presLayoutVars>
      </dgm:prSet>
      <dgm:spPr/>
    </dgm:pt>
    <dgm:pt modelId="{D0E69083-1DC3-4E03-A7B4-985F56389913}" type="pres">
      <dgm:prSet presAssocID="{BE956F50-3952-4472-A27E-45448227CE8E}" presName="parentText" presStyleLbl="node1" presStyleIdx="0" presStyleCnt="2">
        <dgm:presLayoutVars>
          <dgm:chMax val="0"/>
          <dgm:bulletEnabled val="1"/>
        </dgm:presLayoutVars>
      </dgm:prSet>
      <dgm:spPr/>
    </dgm:pt>
    <dgm:pt modelId="{E638B426-B4C3-486D-B24F-F0D708A27113}" type="pres">
      <dgm:prSet presAssocID="{BE956F50-3952-4472-A27E-45448227CE8E}" presName="childText" presStyleLbl="revTx" presStyleIdx="0" presStyleCnt="2">
        <dgm:presLayoutVars>
          <dgm:bulletEnabled val="1"/>
        </dgm:presLayoutVars>
      </dgm:prSet>
      <dgm:spPr/>
    </dgm:pt>
    <dgm:pt modelId="{C785C48D-C559-486A-9C47-1603B8BACE70}" type="pres">
      <dgm:prSet presAssocID="{D4814765-229A-49B4-B2AD-2CCAF3EA1CA7}" presName="parentText" presStyleLbl="node1" presStyleIdx="1" presStyleCnt="2">
        <dgm:presLayoutVars>
          <dgm:chMax val="0"/>
          <dgm:bulletEnabled val="1"/>
        </dgm:presLayoutVars>
      </dgm:prSet>
      <dgm:spPr/>
    </dgm:pt>
    <dgm:pt modelId="{18423F23-6E3D-4752-AD23-F8A327AAF702}" type="pres">
      <dgm:prSet presAssocID="{D4814765-229A-49B4-B2AD-2CCAF3EA1CA7}" presName="childText" presStyleLbl="revTx" presStyleIdx="1" presStyleCnt="2">
        <dgm:presLayoutVars>
          <dgm:bulletEnabled val="1"/>
        </dgm:presLayoutVars>
      </dgm:prSet>
      <dgm:spPr/>
    </dgm:pt>
  </dgm:ptLst>
  <dgm:cxnLst>
    <dgm:cxn modelId="{8D71EA0D-F98F-4F80-B10D-ABB59E75B6C7}" type="presOf" srcId="{540D88EE-F386-4269-A059-8107BF0608B0}" destId="{70BBF699-D503-4705-829F-E0D0A8C5D0C9}" srcOrd="0" destOrd="0" presId="urn:microsoft.com/office/officeart/2005/8/layout/vList2"/>
    <dgm:cxn modelId="{05286628-6BBB-43BA-9E84-2283F8B86D12}" type="presOf" srcId="{C9D34AD4-18AB-433B-899E-745282AA12F5}" destId="{E638B426-B4C3-486D-B24F-F0D708A27113}" srcOrd="0" destOrd="1" presId="urn:microsoft.com/office/officeart/2005/8/layout/vList2"/>
    <dgm:cxn modelId="{A55B6A28-5388-49F4-A0C6-A6F2A4A728BB}" type="presOf" srcId="{BE956F50-3952-4472-A27E-45448227CE8E}" destId="{D0E69083-1DC3-4E03-A7B4-985F56389913}" srcOrd="0" destOrd="0" presId="urn:microsoft.com/office/officeart/2005/8/layout/vList2"/>
    <dgm:cxn modelId="{6F89E841-80D8-4A13-A199-535B533391ED}" srcId="{BE956F50-3952-4472-A27E-45448227CE8E}" destId="{9227FA6B-5FA8-4CF4-9444-4C11ECBF5874}" srcOrd="0" destOrd="0" parTransId="{CC5F9D4C-64EB-4D65-879C-0C1B3CDC43D0}" sibTransId="{0FCB553F-BF5C-42E5-BD47-9B79EF8D2EFB}"/>
    <dgm:cxn modelId="{15961A68-D3F7-4FAA-8093-25B456F6BB39}" type="presOf" srcId="{9227FA6B-5FA8-4CF4-9444-4C11ECBF5874}" destId="{E638B426-B4C3-486D-B24F-F0D708A27113}" srcOrd="0" destOrd="0" presId="urn:microsoft.com/office/officeart/2005/8/layout/vList2"/>
    <dgm:cxn modelId="{80E4B977-CED0-4F36-886D-127643998EE1}" srcId="{BE956F50-3952-4472-A27E-45448227CE8E}" destId="{A8B54D55-4788-44FA-8FCF-24E592FC2B3E}" srcOrd="2" destOrd="0" parTransId="{EDBC758B-2C6C-4AE2-91F6-2F2F51E77633}" sibTransId="{AA1F3FBD-BB72-4DDC-81DC-3E04E1667E2D}"/>
    <dgm:cxn modelId="{19B614A2-A4A1-4E2A-828A-D35A6F98E77F}" srcId="{D4814765-229A-49B4-B2AD-2CCAF3EA1CA7}" destId="{B26D4189-5D29-46CF-B8D0-E68D3C55A6EE}" srcOrd="0" destOrd="0" parTransId="{14BF2549-910D-4DBF-8729-85095E65B7DA}" sibTransId="{41105B2D-660C-46E6-B2C4-5CCFFA3F67AE}"/>
    <dgm:cxn modelId="{6067AEA9-D752-4196-958D-BCE84F1F4F71}" srcId="{540D88EE-F386-4269-A059-8107BF0608B0}" destId="{D4814765-229A-49B4-B2AD-2CCAF3EA1CA7}" srcOrd="1" destOrd="0" parTransId="{633F1549-B632-408D-BFBB-24677DFBE35C}" sibTransId="{3B8437E7-7493-4708-9573-232FE4C4B021}"/>
    <dgm:cxn modelId="{A97F75B9-CD5C-4972-B94A-4EEC40E3A7FE}" type="presOf" srcId="{B26D4189-5D29-46CF-B8D0-E68D3C55A6EE}" destId="{18423F23-6E3D-4752-AD23-F8A327AAF702}" srcOrd="0" destOrd="0" presId="urn:microsoft.com/office/officeart/2005/8/layout/vList2"/>
    <dgm:cxn modelId="{8D46D0BB-18C3-407B-8D86-92713ECA536E}" srcId="{540D88EE-F386-4269-A059-8107BF0608B0}" destId="{BE956F50-3952-4472-A27E-45448227CE8E}" srcOrd="0" destOrd="0" parTransId="{1C8E3D05-F6D8-4120-BC2F-45E99564EC8A}" sibTransId="{DC600C8E-1098-48BB-BABD-3CBC0459BBD7}"/>
    <dgm:cxn modelId="{C9ECDFC8-AC7F-4981-89A2-136599646D74}" srcId="{BE956F50-3952-4472-A27E-45448227CE8E}" destId="{C9D34AD4-18AB-433B-899E-745282AA12F5}" srcOrd="1" destOrd="0" parTransId="{99B12287-D19E-4509-B409-8709B6AD2E89}" sibTransId="{9784DE59-05D3-42C8-B114-380431B4BB98}"/>
    <dgm:cxn modelId="{C6B361CC-A5CD-4213-A9BB-141639DBC4A6}" type="presOf" srcId="{A8B54D55-4788-44FA-8FCF-24E592FC2B3E}" destId="{E638B426-B4C3-486D-B24F-F0D708A27113}" srcOrd="0" destOrd="2" presId="urn:microsoft.com/office/officeart/2005/8/layout/vList2"/>
    <dgm:cxn modelId="{88D644E8-70BE-4773-8643-70F3C7AB38F2}" type="presOf" srcId="{D4814765-229A-49B4-B2AD-2CCAF3EA1CA7}" destId="{C785C48D-C559-486A-9C47-1603B8BACE70}" srcOrd="0" destOrd="0" presId="urn:microsoft.com/office/officeart/2005/8/layout/vList2"/>
    <dgm:cxn modelId="{35013E7F-ECDD-4915-8805-1F1E5F629BFC}" type="presParOf" srcId="{70BBF699-D503-4705-829F-E0D0A8C5D0C9}" destId="{D0E69083-1DC3-4E03-A7B4-985F56389913}" srcOrd="0" destOrd="0" presId="urn:microsoft.com/office/officeart/2005/8/layout/vList2"/>
    <dgm:cxn modelId="{419101E6-912F-4DD6-AAFF-4E473DB4A9DC}" type="presParOf" srcId="{70BBF699-D503-4705-829F-E0D0A8C5D0C9}" destId="{E638B426-B4C3-486D-B24F-F0D708A27113}" srcOrd="1" destOrd="0" presId="urn:microsoft.com/office/officeart/2005/8/layout/vList2"/>
    <dgm:cxn modelId="{1CBFD53C-A4D8-4ECE-8B13-F8E7FFDCED54}" type="presParOf" srcId="{70BBF699-D503-4705-829F-E0D0A8C5D0C9}" destId="{C785C48D-C559-486A-9C47-1603B8BACE70}" srcOrd="2" destOrd="0" presId="urn:microsoft.com/office/officeart/2005/8/layout/vList2"/>
    <dgm:cxn modelId="{FD632407-3BC7-4FDA-977E-FB51DAF23140}" type="presParOf" srcId="{70BBF699-D503-4705-829F-E0D0A8C5D0C9}" destId="{18423F23-6E3D-4752-AD23-F8A327AAF702}" srcOrd="3"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3D59EC08-9332-45E0-9AE7-8AF5483D7A4F}"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B711003B-71CF-403B-A4E2-C25AAE92A270}">
      <dgm:prSet/>
      <dgm:spPr>
        <a:solidFill>
          <a:schemeClr val="accent2"/>
        </a:solidFill>
      </dgm:spPr>
      <dgm:t>
        <a:bodyPr/>
        <a:lstStyle/>
        <a:p>
          <a:r>
            <a:rPr lang="en-US" baseline="0"/>
            <a:t>Two steps for purchase private offers:</a:t>
          </a:r>
          <a:endParaRPr lang="en-US"/>
        </a:p>
      </dgm:t>
    </dgm:pt>
    <dgm:pt modelId="{DA80C0D7-580B-4DFA-BCA7-D29323DDFE2A}" type="parTrans" cxnId="{31DE63BF-58B6-473E-946E-0DFEC12C668A}">
      <dgm:prSet/>
      <dgm:spPr/>
      <dgm:t>
        <a:bodyPr/>
        <a:lstStyle/>
        <a:p>
          <a:endParaRPr lang="en-US"/>
        </a:p>
      </dgm:t>
    </dgm:pt>
    <dgm:pt modelId="{87DC0BCB-FF55-4C8C-A7F0-40E0A7DB3223}" type="sibTrans" cxnId="{31DE63BF-58B6-473E-946E-0DFEC12C668A}">
      <dgm:prSet/>
      <dgm:spPr/>
      <dgm:t>
        <a:bodyPr/>
        <a:lstStyle/>
        <a:p>
          <a:endParaRPr lang="en-US"/>
        </a:p>
      </dgm:t>
    </dgm:pt>
    <dgm:pt modelId="{92A19483-07B8-4E84-8FE1-2F9982D29163}">
      <dgm:prSet/>
      <dgm:spPr/>
      <dgm:t>
        <a:bodyPr/>
        <a:lstStyle/>
        <a:p>
          <a:r>
            <a:rPr lang="en-US" baseline="0"/>
            <a:t>Accept</a:t>
          </a:r>
          <a:endParaRPr lang="en-US"/>
        </a:p>
      </dgm:t>
    </dgm:pt>
    <dgm:pt modelId="{AD6E27F7-6A98-4CFF-8ACD-8ABCA2F50138}" type="parTrans" cxnId="{1ECC7BDB-F370-491C-8A49-EBE565311295}">
      <dgm:prSet/>
      <dgm:spPr/>
      <dgm:t>
        <a:bodyPr/>
        <a:lstStyle/>
        <a:p>
          <a:endParaRPr lang="en-US"/>
        </a:p>
      </dgm:t>
    </dgm:pt>
    <dgm:pt modelId="{7C83970B-35A0-486C-A7BC-BDB3137E852C}" type="sibTrans" cxnId="{1ECC7BDB-F370-491C-8A49-EBE565311295}">
      <dgm:prSet/>
      <dgm:spPr/>
      <dgm:t>
        <a:bodyPr/>
        <a:lstStyle/>
        <a:p>
          <a:endParaRPr lang="en-US"/>
        </a:p>
      </dgm:t>
    </dgm:pt>
    <dgm:pt modelId="{C6AD797C-8527-4B01-ADD6-8E1C6C87100F}">
      <dgm:prSet/>
      <dgm:spPr/>
      <dgm:t>
        <a:bodyPr/>
        <a:lstStyle/>
        <a:p>
          <a:r>
            <a:rPr lang="en-US" baseline="0"/>
            <a:t>Purchase</a:t>
          </a:r>
          <a:endParaRPr lang="en-US"/>
        </a:p>
      </dgm:t>
    </dgm:pt>
    <dgm:pt modelId="{19FF4E1D-E7D1-4D48-8089-43BA07FF36EB}" type="parTrans" cxnId="{D9A3DEAC-A3C8-4023-AA69-DC2668DED2FE}">
      <dgm:prSet/>
      <dgm:spPr/>
      <dgm:t>
        <a:bodyPr/>
        <a:lstStyle/>
        <a:p>
          <a:endParaRPr lang="en-US"/>
        </a:p>
      </dgm:t>
    </dgm:pt>
    <dgm:pt modelId="{E7144D4E-6B98-495B-B034-1B8C699EC0EA}" type="sibTrans" cxnId="{D9A3DEAC-A3C8-4023-AA69-DC2668DED2FE}">
      <dgm:prSet/>
      <dgm:spPr/>
      <dgm:t>
        <a:bodyPr/>
        <a:lstStyle/>
        <a:p>
          <a:endParaRPr lang="en-US"/>
        </a:p>
      </dgm:t>
    </dgm:pt>
    <dgm:pt modelId="{501618A0-93EE-4C28-81D7-D794D90785DD}">
      <dgm:prSet/>
      <dgm:spPr>
        <a:solidFill>
          <a:schemeClr val="accent2"/>
        </a:solidFill>
      </dgm:spPr>
      <dgm:t>
        <a:bodyPr/>
        <a:lstStyle/>
        <a:p>
          <a:r>
            <a:rPr lang="en-US" baseline="0"/>
            <a:t>SaaS subscriptions</a:t>
          </a:r>
          <a:endParaRPr lang="en-US"/>
        </a:p>
      </dgm:t>
    </dgm:pt>
    <dgm:pt modelId="{32ED9409-A720-44E2-8064-D846BB76657A}" type="parTrans" cxnId="{9AA62993-54EA-4B95-8A3B-E8C023089F61}">
      <dgm:prSet/>
      <dgm:spPr/>
      <dgm:t>
        <a:bodyPr/>
        <a:lstStyle/>
        <a:p>
          <a:endParaRPr lang="en-US"/>
        </a:p>
      </dgm:t>
    </dgm:pt>
    <dgm:pt modelId="{95ADA168-B0D1-4E95-A3DA-D575FDE947AD}" type="sibTrans" cxnId="{9AA62993-54EA-4B95-8A3B-E8C023089F61}">
      <dgm:prSet/>
      <dgm:spPr/>
      <dgm:t>
        <a:bodyPr/>
        <a:lstStyle/>
        <a:p>
          <a:endParaRPr lang="en-US"/>
        </a:p>
      </dgm:t>
    </dgm:pt>
    <dgm:pt modelId="{C89B7F27-0175-4E73-A877-53EC21F81594}">
      <dgm:prSet/>
      <dgm:spPr/>
      <dgm:t>
        <a:bodyPr/>
        <a:lstStyle/>
        <a:p>
          <a:r>
            <a:rPr lang="en-US" baseline="0"/>
            <a:t>Completed in publisher's portal</a:t>
          </a:r>
          <a:endParaRPr lang="en-US"/>
        </a:p>
      </dgm:t>
    </dgm:pt>
    <dgm:pt modelId="{283FE0BF-FC54-4EC7-BD26-E0BD9962243F}" type="parTrans" cxnId="{19CAE3A6-DDC1-4BE9-86AA-7EAFEA44260A}">
      <dgm:prSet/>
      <dgm:spPr/>
      <dgm:t>
        <a:bodyPr/>
        <a:lstStyle/>
        <a:p>
          <a:endParaRPr lang="en-US"/>
        </a:p>
      </dgm:t>
    </dgm:pt>
    <dgm:pt modelId="{E516E0EC-6D76-4054-B562-0293C50AE49A}" type="sibTrans" cxnId="{19CAE3A6-DDC1-4BE9-86AA-7EAFEA44260A}">
      <dgm:prSet/>
      <dgm:spPr/>
      <dgm:t>
        <a:bodyPr/>
        <a:lstStyle/>
        <a:p>
          <a:endParaRPr lang="en-US"/>
        </a:p>
      </dgm:t>
    </dgm:pt>
    <dgm:pt modelId="{62FBD0AC-EC5A-44DE-8A2E-2C4DC521129F}">
      <dgm:prSet/>
      <dgm:spPr/>
      <dgm:t>
        <a:bodyPr/>
        <a:lstStyle/>
        <a:p>
          <a:r>
            <a:rPr lang="en-US" baseline="0"/>
            <a:t>Requires Entra ID (Azure Active Directory) permissions</a:t>
          </a:r>
          <a:endParaRPr lang="en-US"/>
        </a:p>
      </dgm:t>
    </dgm:pt>
    <dgm:pt modelId="{EF8AD997-A4A1-407C-B3CB-6EA91BB25FC7}" type="parTrans" cxnId="{11986664-5DA0-4757-8ED1-DA23DFDB1EC4}">
      <dgm:prSet/>
      <dgm:spPr/>
      <dgm:t>
        <a:bodyPr/>
        <a:lstStyle/>
        <a:p>
          <a:endParaRPr lang="en-US"/>
        </a:p>
      </dgm:t>
    </dgm:pt>
    <dgm:pt modelId="{F959C7C3-34B8-4D79-9C0F-0C8D7E22C6E9}" type="sibTrans" cxnId="{11986664-5DA0-4757-8ED1-DA23DFDB1EC4}">
      <dgm:prSet/>
      <dgm:spPr/>
      <dgm:t>
        <a:bodyPr/>
        <a:lstStyle/>
        <a:p>
          <a:endParaRPr lang="en-US"/>
        </a:p>
      </dgm:t>
    </dgm:pt>
    <dgm:pt modelId="{DA3CEB1E-FB78-4DFC-8727-7ECBD3A5E0D2}">
      <dgm:prSet/>
      <dgm:spPr>
        <a:solidFill>
          <a:schemeClr val="accent2"/>
        </a:solidFill>
      </dgm:spPr>
      <dgm:t>
        <a:bodyPr/>
        <a:lstStyle/>
        <a:p>
          <a:r>
            <a:rPr lang="en-US" baseline="0"/>
            <a:t>Finding permissions</a:t>
          </a:r>
          <a:endParaRPr lang="en-US"/>
        </a:p>
      </dgm:t>
    </dgm:pt>
    <dgm:pt modelId="{4393A8AE-C05E-455B-A475-2372DE8A2466}" type="parTrans" cxnId="{26423390-038D-43A2-977D-C8FEF98DDF29}">
      <dgm:prSet/>
      <dgm:spPr/>
      <dgm:t>
        <a:bodyPr/>
        <a:lstStyle/>
        <a:p>
          <a:endParaRPr lang="en-US"/>
        </a:p>
      </dgm:t>
    </dgm:pt>
    <dgm:pt modelId="{5095AF66-B0A2-499C-A4AF-6D353B13B90E}" type="sibTrans" cxnId="{26423390-038D-43A2-977D-C8FEF98DDF29}">
      <dgm:prSet/>
      <dgm:spPr/>
      <dgm:t>
        <a:bodyPr/>
        <a:lstStyle/>
        <a:p>
          <a:endParaRPr lang="en-US"/>
        </a:p>
      </dgm:t>
    </dgm:pt>
    <dgm:pt modelId="{54F52F22-16EC-437C-89EB-620112022E96}">
      <dgm:prSet/>
      <dgm:spPr/>
      <dgm:t>
        <a:bodyPr/>
        <a:lstStyle/>
        <a:p>
          <a:r>
            <a:rPr lang="en-US" baseline="0"/>
            <a:t>Marketplace private offers precheck tool (</a:t>
          </a:r>
          <a:r>
            <a:rPr lang="en-US" baseline="0">
              <a:hlinkClick xmlns:r="http://schemas.openxmlformats.org/officeDocument/2006/relationships" r:id="rId1"/>
            </a:rPr>
            <a:t>https://learn.microsoft.com/en-us/marketplace/private-offers-pre-check</a:t>
          </a:r>
          <a:r>
            <a:rPr lang="en-US" baseline="0"/>
            <a:t>)</a:t>
          </a:r>
          <a:endParaRPr lang="en-US"/>
        </a:p>
      </dgm:t>
    </dgm:pt>
    <dgm:pt modelId="{2B2979BB-82D3-4319-BD75-AA0F25DDB37B}" type="parTrans" cxnId="{5CEF270F-9DD6-468A-AB7E-DE583EF7D280}">
      <dgm:prSet/>
      <dgm:spPr/>
      <dgm:t>
        <a:bodyPr/>
        <a:lstStyle/>
        <a:p>
          <a:endParaRPr lang="en-US"/>
        </a:p>
      </dgm:t>
    </dgm:pt>
    <dgm:pt modelId="{ECBBEE0F-17E3-485B-B744-FBF45AF194BB}" type="sibTrans" cxnId="{5CEF270F-9DD6-468A-AB7E-DE583EF7D280}">
      <dgm:prSet/>
      <dgm:spPr/>
      <dgm:t>
        <a:bodyPr/>
        <a:lstStyle/>
        <a:p>
          <a:endParaRPr lang="en-US"/>
        </a:p>
      </dgm:t>
    </dgm:pt>
    <dgm:pt modelId="{45F65CBE-3E31-4E17-B2DB-2E4EAF48E52D}">
      <dgm:prSet/>
      <dgm:spPr/>
      <dgm:t>
        <a:bodyPr/>
        <a:lstStyle/>
        <a:p>
          <a:r>
            <a:rPr lang="en-US" baseline="0"/>
            <a:t>Private marketplace – product will be in the allow list</a:t>
          </a:r>
          <a:endParaRPr lang="en-US"/>
        </a:p>
      </dgm:t>
    </dgm:pt>
    <dgm:pt modelId="{0CE179BD-59F8-4E6D-B073-A6F3FAFC92AF}" type="parTrans" cxnId="{C2977DED-4A19-4621-B98D-16260CF10A97}">
      <dgm:prSet/>
      <dgm:spPr/>
      <dgm:t>
        <a:bodyPr/>
        <a:lstStyle/>
        <a:p>
          <a:endParaRPr lang="en-US"/>
        </a:p>
      </dgm:t>
    </dgm:pt>
    <dgm:pt modelId="{78FE51E0-0083-4660-BA98-976BE0DC2428}" type="sibTrans" cxnId="{C2977DED-4A19-4621-B98D-16260CF10A97}">
      <dgm:prSet/>
      <dgm:spPr/>
      <dgm:t>
        <a:bodyPr/>
        <a:lstStyle/>
        <a:p>
          <a:endParaRPr lang="en-US"/>
        </a:p>
      </dgm:t>
    </dgm:pt>
    <dgm:pt modelId="{58250BBC-F260-4073-B4E4-A29438F4C58E}">
      <dgm:prSet/>
      <dgm:spPr/>
      <dgm:t>
        <a:bodyPr/>
        <a:lstStyle/>
        <a:p>
          <a:r>
            <a:rPr lang="en-US" baseline="0"/>
            <a:t>Azure policies – used to block or enforce tagging when resources are created</a:t>
          </a:r>
          <a:endParaRPr lang="en-US"/>
        </a:p>
      </dgm:t>
    </dgm:pt>
    <dgm:pt modelId="{E934EFD9-9714-400E-A76B-B3B07E0BBBFB}" type="parTrans" cxnId="{0483B198-8035-401F-B986-74A5142B3FCA}">
      <dgm:prSet/>
      <dgm:spPr/>
      <dgm:t>
        <a:bodyPr/>
        <a:lstStyle/>
        <a:p>
          <a:endParaRPr lang="en-US"/>
        </a:p>
      </dgm:t>
    </dgm:pt>
    <dgm:pt modelId="{A931FBA9-C992-4BC1-A512-2B75871CDF61}" type="sibTrans" cxnId="{0483B198-8035-401F-B986-74A5142B3FCA}">
      <dgm:prSet/>
      <dgm:spPr/>
      <dgm:t>
        <a:bodyPr/>
        <a:lstStyle/>
        <a:p>
          <a:endParaRPr lang="en-US"/>
        </a:p>
      </dgm:t>
    </dgm:pt>
    <dgm:pt modelId="{64A981D5-9374-4FCA-A8F4-00E474ED1576}" type="pres">
      <dgm:prSet presAssocID="{3D59EC08-9332-45E0-9AE7-8AF5483D7A4F}" presName="linear" presStyleCnt="0">
        <dgm:presLayoutVars>
          <dgm:dir/>
          <dgm:animLvl val="lvl"/>
          <dgm:resizeHandles val="exact"/>
        </dgm:presLayoutVars>
      </dgm:prSet>
      <dgm:spPr/>
    </dgm:pt>
    <dgm:pt modelId="{65DD332B-0777-427B-8BF6-F4B9F6F21EEA}" type="pres">
      <dgm:prSet presAssocID="{B711003B-71CF-403B-A4E2-C25AAE92A270}" presName="parentLin" presStyleCnt="0"/>
      <dgm:spPr/>
    </dgm:pt>
    <dgm:pt modelId="{64B2DE64-E65C-43DC-BD08-81DD6B0B9DDD}" type="pres">
      <dgm:prSet presAssocID="{B711003B-71CF-403B-A4E2-C25AAE92A270}" presName="parentLeftMargin" presStyleLbl="node1" presStyleIdx="0" presStyleCnt="3"/>
      <dgm:spPr/>
    </dgm:pt>
    <dgm:pt modelId="{35B8B9FC-FC2F-48D1-8D16-AD533F24C4B6}" type="pres">
      <dgm:prSet presAssocID="{B711003B-71CF-403B-A4E2-C25AAE92A270}" presName="parentText" presStyleLbl="node1" presStyleIdx="0" presStyleCnt="3">
        <dgm:presLayoutVars>
          <dgm:chMax val="0"/>
          <dgm:bulletEnabled val="1"/>
        </dgm:presLayoutVars>
      </dgm:prSet>
      <dgm:spPr/>
    </dgm:pt>
    <dgm:pt modelId="{6070ABA8-2C0A-4939-94B9-442A8653ED30}" type="pres">
      <dgm:prSet presAssocID="{B711003B-71CF-403B-A4E2-C25AAE92A270}" presName="negativeSpace" presStyleCnt="0"/>
      <dgm:spPr/>
    </dgm:pt>
    <dgm:pt modelId="{E3A4A9AB-47D7-4AAC-82AD-B40F8998EDDA}" type="pres">
      <dgm:prSet presAssocID="{B711003B-71CF-403B-A4E2-C25AAE92A270}" presName="childText" presStyleLbl="conFgAcc1" presStyleIdx="0" presStyleCnt="3">
        <dgm:presLayoutVars>
          <dgm:bulletEnabled val="1"/>
        </dgm:presLayoutVars>
      </dgm:prSet>
      <dgm:spPr/>
    </dgm:pt>
    <dgm:pt modelId="{47C07011-0120-4156-8651-12193D99555C}" type="pres">
      <dgm:prSet presAssocID="{87DC0BCB-FF55-4C8C-A7F0-40E0A7DB3223}" presName="spaceBetweenRectangles" presStyleCnt="0"/>
      <dgm:spPr/>
    </dgm:pt>
    <dgm:pt modelId="{8A760CA9-26C0-4DF5-B16E-575AB0BC195D}" type="pres">
      <dgm:prSet presAssocID="{501618A0-93EE-4C28-81D7-D794D90785DD}" presName="parentLin" presStyleCnt="0"/>
      <dgm:spPr/>
    </dgm:pt>
    <dgm:pt modelId="{FC141A0F-147B-49F1-BAC8-A93733021031}" type="pres">
      <dgm:prSet presAssocID="{501618A0-93EE-4C28-81D7-D794D90785DD}" presName="parentLeftMargin" presStyleLbl="node1" presStyleIdx="0" presStyleCnt="3"/>
      <dgm:spPr/>
    </dgm:pt>
    <dgm:pt modelId="{CDE54510-D1F2-44F3-BA3A-F9CEC9431F7F}" type="pres">
      <dgm:prSet presAssocID="{501618A0-93EE-4C28-81D7-D794D90785DD}" presName="parentText" presStyleLbl="node1" presStyleIdx="1" presStyleCnt="3">
        <dgm:presLayoutVars>
          <dgm:chMax val="0"/>
          <dgm:bulletEnabled val="1"/>
        </dgm:presLayoutVars>
      </dgm:prSet>
      <dgm:spPr/>
    </dgm:pt>
    <dgm:pt modelId="{416562D5-4417-419C-A847-BC53E2DE7D2F}" type="pres">
      <dgm:prSet presAssocID="{501618A0-93EE-4C28-81D7-D794D90785DD}" presName="negativeSpace" presStyleCnt="0"/>
      <dgm:spPr/>
    </dgm:pt>
    <dgm:pt modelId="{4463158C-EC9F-489E-9836-2A7B1CB462AF}" type="pres">
      <dgm:prSet presAssocID="{501618A0-93EE-4C28-81D7-D794D90785DD}" presName="childText" presStyleLbl="conFgAcc1" presStyleIdx="1" presStyleCnt="3">
        <dgm:presLayoutVars>
          <dgm:bulletEnabled val="1"/>
        </dgm:presLayoutVars>
      </dgm:prSet>
      <dgm:spPr/>
    </dgm:pt>
    <dgm:pt modelId="{8BEBBCE4-5F6F-48D7-A0DA-1E9DD4724580}" type="pres">
      <dgm:prSet presAssocID="{95ADA168-B0D1-4E95-A3DA-D575FDE947AD}" presName="spaceBetweenRectangles" presStyleCnt="0"/>
      <dgm:spPr/>
    </dgm:pt>
    <dgm:pt modelId="{BC125C4C-78D4-4F5A-9A62-018A3C266535}" type="pres">
      <dgm:prSet presAssocID="{DA3CEB1E-FB78-4DFC-8727-7ECBD3A5E0D2}" presName="parentLin" presStyleCnt="0"/>
      <dgm:spPr/>
    </dgm:pt>
    <dgm:pt modelId="{0F54BF83-761F-459E-8693-7F1E9ADF781A}" type="pres">
      <dgm:prSet presAssocID="{DA3CEB1E-FB78-4DFC-8727-7ECBD3A5E0D2}" presName="parentLeftMargin" presStyleLbl="node1" presStyleIdx="1" presStyleCnt="3"/>
      <dgm:spPr/>
    </dgm:pt>
    <dgm:pt modelId="{F23A4A5F-3279-4844-9F37-797736070D7C}" type="pres">
      <dgm:prSet presAssocID="{DA3CEB1E-FB78-4DFC-8727-7ECBD3A5E0D2}" presName="parentText" presStyleLbl="node1" presStyleIdx="2" presStyleCnt="3">
        <dgm:presLayoutVars>
          <dgm:chMax val="0"/>
          <dgm:bulletEnabled val="1"/>
        </dgm:presLayoutVars>
      </dgm:prSet>
      <dgm:spPr/>
    </dgm:pt>
    <dgm:pt modelId="{04DE1379-AA20-4E15-9D9C-DC1A97877584}" type="pres">
      <dgm:prSet presAssocID="{DA3CEB1E-FB78-4DFC-8727-7ECBD3A5E0D2}" presName="negativeSpace" presStyleCnt="0"/>
      <dgm:spPr/>
    </dgm:pt>
    <dgm:pt modelId="{416B9D5B-018B-4AD8-95F9-F3A46DF79AF1}" type="pres">
      <dgm:prSet presAssocID="{DA3CEB1E-FB78-4DFC-8727-7ECBD3A5E0D2}" presName="childText" presStyleLbl="conFgAcc1" presStyleIdx="2" presStyleCnt="3">
        <dgm:presLayoutVars>
          <dgm:bulletEnabled val="1"/>
        </dgm:presLayoutVars>
      </dgm:prSet>
      <dgm:spPr/>
    </dgm:pt>
  </dgm:ptLst>
  <dgm:cxnLst>
    <dgm:cxn modelId="{B2594404-48C9-4523-9B2F-8B09D68BF2C9}" type="presOf" srcId="{58250BBC-F260-4073-B4E4-A29438F4C58E}" destId="{416B9D5B-018B-4AD8-95F9-F3A46DF79AF1}" srcOrd="0" destOrd="2" presId="urn:microsoft.com/office/officeart/2005/8/layout/list1"/>
    <dgm:cxn modelId="{5CEF270F-9DD6-468A-AB7E-DE583EF7D280}" srcId="{DA3CEB1E-FB78-4DFC-8727-7ECBD3A5E0D2}" destId="{54F52F22-16EC-437C-89EB-620112022E96}" srcOrd="0" destOrd="0" parTransId="{2B2979BB-82D3-4319-BD75-AA0F25DDB37B}" sibTransId="{ECBBEE0F-17E3-485B-B744-FBF45AF194BB}"/>
    <dgm:cxn modelId="{7158A427-0692-4AB1-972B-80D05B19D630}" type="presOf" srcId="{92A19483-07B8-4E84-8FE1-2F9982D29163}" destId="{E3A4A9AB-47D7-4AAC-82AD-B40F8998EDDA}" srcOrd="0" destOrd="0" presId="urn:microsoft.com/office/officeart/2005/8/layout/list1"/>
    <dgm:cxn modelId="{99B2E25F-75CE-4679-9A89-BF56432A24D2}" type="presOf" srcId="{54F52F22-16EC-437C-89EB-620112022E96}" destId="{416B9D5B-018B-4AD8-95F9-F3A46DF79AF1}" srcOrd="0" destOrd="0" presId="urn:microsoft.com/office/officeart/2005/8/layout/list1"/>
    <dgm:cxn modelId="{3CBC7741-93A1-423E-B5C4-A0D06D8AA934}" type="presOf" srcId="{62FBD0AC-EC5A-44DE-8A2E-2C4DC521129F}" destId="{4463158C-EC9F-489E-9836-2A7B1CB462AF}" srcOrd="0" destOrd="1" presId="urn:microsoft.com/office/officeart/2005/8/layout/list1"/>
    <dgm:cxn modelId="{2D6E1B42-03BF-41B3-9DCD-4196586B2532}" type="presOf" srcId="{DA3CEB1E-FB78-4DFC-8727-7ECBD3A5E0D2}" destId="{0F54BF83-761F-459E-8693-7F1E9ADF781A}" srcOrd="0" destOrd="0" presId="urn:microsoft.com/office/officeart/2005/8/layout/list1"/>
    <dgm:cxn modelId="{11986664-5DA0-4757-8ED1-DA23DFDB1EC4}" srcId="{501618A0-93EE-4C28-81D7-D794D90785DD}" destId="{62FBD0AC-EC5A-44DE-8A2E-2C4DC521129F}" srcOrd="1" destOrd="0" parTransId="{EF8AD997-A4A1-407C-B3CB-6EA91BB25FC7}" sibTransId="{F959C7C3-34B8-4D79-9C0F-0C8D7E22C6E9}"/>
    <dgm:cxn modelId="{507EB94D-9D7D-467E-9782-C2EFA74D7CDF}" type="presOf" srcId="{B711003B-71CF-403B-A4E2-C25AAE92A270}" destId="{64B2DE64-E65C-43DC-BD08-81DD6B0B9DDD}" srcOrd="0" destOrd="0" presId="urn:microsoft.com/office/officeart/2005/8/layout/list1"/>
    <dgm:cxn modelId="{DD96AB7A-9FF4-4D93-8CA4-76F4FE428F58}" type="presOf" srcId="{501618A0-93EE-4C28-81D7-D794D90785DD}" destId="{FC141A0F-147B-49F1-BAC8-A93733021031}" srcOrd="0" destOrd="0" presId="urn:microsoft.com/office/officeart/2005/8/layout/list1"/>
    <dgm:cxn modelId="{D271FB8D-C012-41C6-A415-8DC4ADBDBCEC}" type="presOf" srcId="{501618A0-93EE-4C28-81D7-D794D90785DD}" destId="{CDE54510-D1F2-44F3-BA3A-F9CEC9431F7F}" srcOrd="1" destOrd="0" presId="urn:microsoft.com/office/officeart/2005/8/layout/list1"/>
    <dgm:cxn modelId="{26423390-038D-43A2-977D-C8FEF98DDF29}" srcId="{3D59EC08-9332-45E0-9AE7-8AF5483D7A4F}" destId="{DA3CEB1E-FB78-4DFC-8727-7ECBD3A5E0D2}" srcOrd="2" destOrd="0" parTransId="{4393A8AE-C05E-455B-A475-2372DE8A2466}" sibTransId="{5095AF66-B0A2-499C-A4AF-6D353B13B90E}"/>
    <dgm:cxn modelId="{F4DEC491-8E4D-4293-8016-829BF0DA8EB0}" type="presOf" srcId="{B711003B-71CF-403B-A4E2-C25AAE92A270}" destId="{35B8B9FC-FC2F-48D1-8D16-AD533F24C4B6}" srcOrd="1" destOrd="0" presId="urn:microsoft.com/office/officeart/2005/8/layout/list1"/>
    <dgm:cxn modelId="{9AA62993-54EA-4B95-8A3B-E8C023089F61}" srcId="{3D59EC08-9332-45E0-9AE7-8AF5483D7A4F}" destId="{501618A0-93EE-4C28-81D7-D794D90785DD}" srcOrd="1" destOrd="0" parTransId="{32ED9409-A720-44E2-8064-D846BB76657A}" sibTransId="{95ADA168-B0D1-4E95-A3DA-D575FDE947AD}"/>
    <dgm:cxn modelId="{0483B198-8035-401F-B986-74A5142B3FCA}" srcId="{DA3CEB1E-FB78-4DFC-8727-7ECBD3A5E0D2}" destId="{58250BBC-F260-4073-B4E4-A29438F4C58E}" srcOrd="2" destOrd="0" parTransId="{E934EFD9-9714-400E-A76B-B3B07E0BBBFB}" sibTransId="{A931FBA9-C992-4BC1-A512-2B75871CDF61}"/>
    <dgm:cxn modelId="{19CAE3A6-DDC1-4BE9-86AA-7EAFEA44260A}" srcId="{501618A0-93EE-4C28-81D7-D794D90785DD}" destId="{C89B7F27-0175-4E73-A877-53EC21F81594}" srcOrd="0" destOrd="0" parTransId="{283FE0BF-FC54-4EC7-BD26-E0BD9962243F}" sibTransId="{E516E0EC-6D76-4054-B562-0293C50AE49A}"/>
    <dgm:cxn modelId="{D9A3DEAC-A3C8-4023-AA69-DC2668DED2FE}" srcId="{B711003B-71CF-403B-A4E2-C25AAE92A270}" destId="{C6AD797C-8527-4B01-ADD6-8E1C6C87100F}" srcOrd="1" destOrd="0" parTransId="{19FF4E1D-E7D1-4D48-8089-43BA07FF36EB}" sibTransId="{E7144D4E-6B98-495B-B034-1B8C699EC0EA}"/>
    <dgm:cxn modelId="{190462B5-5D8C-4642-8D9F-7DC1071CAC04}" type="presOf" srcId="{C89B7F27-0175-4E73-A877-53EC21F81594}" destId="{4463158C-EC9F-489E-9836-2A7B1CB462AF}" srcOrd="0" destOrd="0" presId="urn:microsoft.com/office/officeart/2005/8/layout/list1"/>
    <dgm:cxn modelId="{31DE63BF-58B6-473E-946E-0DFEC12C668A}" srcId="{3D59EC08-9332-45E0-9AE7-8AF5483D7A4F}" destId="{B711003B-71CF-403B-A4E2-C25AAE92A270}" srcOrd="0" destOrd="0" parTransId="{DA80C0D7-580B-4DFA-BCA7-D29323DDFE2A}" sibTransId="{87DC0BCB-FF55-4C8C-A7F0-40E0A7DB3223}"/>
    <dgm:cxn modelId="{CFDE2AC3-A8B2-4FC1-8DF8-F4EC70EC07CB}" type="presOf" srcId="{DA3CEB1E-FB78-4DFC-8727-7ECBD3A5E0D2}" destId="{F23A4A5F-3279-4844-9F37-797736070D7C}" srcOrd="1" destOrd="0" presId="urn:microsoft.com/office/officeart/2005/8/layout/list1"/>
    <dgm:cxn modelId="{91BC5ECB-FA81-45FA-931C-4574DFCA0D53}" type="presOf" srcId="{3D59EC08-9332-45E0-9AE7-8AF5483D7A4F}" destId="{64A981D5-9374-4FCA-A8F4-00E474ED1576}" srcOrd="0" destOrd="0" presId="urn:microsoft.com/office/officeart/2005/8/layout/list1"/>
    <dgm:cxn modelId="{523FFCCF-A522-4C49-A2C4-173FCEF68B1B}" type="presOf" srcId="{C6AD797C-8527-4B01-ADD6-8E1C6C87100F}" destId="{E3A4A9AB-47D7-4AAC-82AD-B40F8998EDDA}" srcOrd="0" destOrd="1" presId="urn:microsoft.com/office/officeart/2005/8/layout/list1"/>
    <dgm:cxn modelId="{1ECC7BDB-F370-491C-8A49-EBE565311295}" srcId="{B711003B-71CF-403B-A4E2-C25AAE92A270}" destId="{92A19483-07B8-4E84-8FE1-2F9982D29163}" srcOrd="0" destOrd="0" parTransId="{AD6E27F7-6A98-4CFF-8ACD-8ABCA2F50138}" sibTransId="{7C83970B-35A0-486C-A7BC-BDB3137E852C}"/>
    <dgm:cxn modelId="{C2977DED-4A19-4621-B98D-16260CF10A97}" srcId="{DA3CEB1E-FB78-4DFC-8727-7ECBD3A5E0D2}" destId="{45F65CBE-3E31-4E17-B2DB-2E4EAF48E52D}" srcOrd="1" destOrd="0" parTransId="{0CE179BD-59F8-4E6D-B073-A6F3FAFC92AF}" sibTransId="{78FE51E0-0083-4660-BA98-976BE0DC2428}"/>
    <dgm:cxn modelId="{629030FA-6487-49D5-B553-47194849E787}" type="presOf" srcId="{45F65CBE-3E31-4E17-B2DB-2E4EAF48E52D}" destId="{416B9D5B-018B-4AD8-95F9-F3A46DF79AF1}" srcOrd="0" destOrd="1" presId="urn:microsoft.com/office/officeart/2005/8/layout/list1"/>
    <dgm:cxn modelId="{ABF90D9B-7914-427C-9637-C1F1DFF525AA}" type="presParOf" srcId="{64A981D5-9374-4FCA-A8F4-00E474ED1576}" destId="{65DD332B-0777-427B-8BF6-F4B9F6F21EEA}" srcOrd="0" destOrd="0" presId="urn:microsoft.com/office/officeart/2005/8/layout/list1"/>
    <dgm:cxn modelId="{5E0A06E9-6D5C-499F-9DB0-4837860D42BE}" type="presParOf" srcId="{65DD332B-0777-427B-8BF6-F4B9F6F21EEA}" destId="{64B2DE64-E65C-43DC-BD08-81DD6B0B9DDD}" srcOrd="0" destOrd="0" presId="urn:microsoft.com/office/officeart/2005/8/layout/list1"/>
    <dgm:cxn modelId="{886AA3B2-727A-4FBD-B5D0-E2FF35A6EEE8}" type="presParOf" srcId="{65DD332B-0777-427B-8BF6-F4B9F6F21EEA}" destId="{35B8B9FC-FC2F-48D1-8D16-AD533F24C4B6}" srcOrd="1" destOrd="0" presId="urn:microsoft.com/office/officeart/2005/8/layout/list1"/>
    <dgm:cxn modelId="{BF28EC05-81F8-4688-96EE-AFDB06D3F806}" type="presParOf" srcId="{64A981D5-9374-4FCA-A8F4-00E474ED1576}" destId="{6070ABA8-2C0A-4939-94B9-442A8653ED30}" srcOrd="1" destOrd="0" presId="urn:microsoft.com/office/officeart/2005/8/layout/list1"/>
    <dgm:cxn modelId="{BCB754E2-233A-4539-9470-80D296E781D0}" type="presParOf" srcId="{64A981D5-9374-4FCA-A8F4-00E474ED1576}" destId="{E3A4A9AB-47D7-4AAC-82AD-B40F8998EDDA}" srcOrd="2" destOrd="0" presId="urn:microsoft.com/office/officeart/2005/8/layout/list1"/>
    <dgm:cxn modelId="{8E20B65F-1E48-4EEC-865F-82945B4D7F3F}" type="presParOf" srcId="{64A981D5-9374-4FCA-A8F4-00E474ED1576}" destId="{47C07011-0120-4156-8651-12193D99555C}" srcOrd="3" destOrd="0" presId="urn:microsoft.com/office/officeart/2005/8/layout/list1"/>
    <dgm:cxn modelId="{AE31D863-A91B-4E19-9FEB-DF54DBDADC71}" type="presParOf" srcId="{64A981D5-9374-4FCA-A8F4-00E474ED1576}" destId="{8A760CA9-26C0-4DF5-B16E-575AB0BC195D}" srcOrd="4" destOrd="0" presId="urn:microsoft.com/office/officeart/2005/8/layout/list1"/>
    <dgm:cxn modelId="{891F76BA-9991-497B-B59C-C48FD3026A7E}" type="presParOf" srcId="{8A760CA9-26C0-4DF5-B16E-575AB0BC195D}" destId="{FC141A0F-147B-49F1-BAC8-A93733021031}" srcOrd="0" destOrd="0" presId="urn:microsoft.com/office/officeart/2005/8/layout/list1"/>
    <dgm:cxn modelId="{FDE9E966-034A-4939-9717-346130842838}" type="presParOf" srcId="{8A760CA9-26C0-4DF5-B16E-575AB0BC195D}" destId="{CDE54510-D1F2-44F3-BA3A-F9CEC9431F7F}" srcOrd="1" destOrd="0" presId="urn:microsoft.com/office/officeart/2005/8/layout/list1"/>
    <dgm:cxn modelId="{B68FE854-6CD2-403B-9DC8-88575409BA6F}" type="presParOf" srcId="{64A981D5-9374-4FCA-A8F4-00E474ED1576}" destId="{416562D5-4417-419C-A847-BC53E2DE7D2F}" srcOrd="5" destOrd="0" presId="urn:microsoft.com/office/officeart/2005/8/layout/list1"/>
    <dgm:cxn modelId="{92A123E7-281C-49D4-9010-4D36D6F4A68B}" type="presParOf" srcId="{64A981D5-9374-4FCA-A8F4-00E474ED1576}" destId="{4463158C-EC9F-489E-9836-2A7B1CB462AF}" srcOrd="6" destOrd="0" presId="urn:microsoft.com/office/officeart/2005/8/layout/list1"/>
    <dgm:cxn modelId="{A5C11662-F453-470D-961A-146D9BAE2FFC}" type="presParOf" srcId="{64A981D5-9374-4FCA-A8F4-00E474ED1576}" destId="{8BEBBCE4-5F6F-48D7-A0DA-1E9DD4724580}" srcOrd="7" destOrd="0" presId="urn:microsoft.com/office/officeart/2005/8/layout/list1"/>
    <dgm:cxn modelId="{1BEE32C7-ED35-4955-ABDD-FD643480ED54}" type="presParOf" srcId="{64A981D5-9374-4FCA-A8F4-00E474ED1576}" destId="{BC125C4C-78D4-4F5A-9A62-018A3C266535}" srcOrd="8" destOrd="0" presId="urn:microsoft.com/office/officeart/2005/8/layout/list1"/>
    <dgm:cxn modelId="{D814105B-AB1D-4013-ADF0-251DB07D2809}" type="presParOf" srcId="{BC125C4C-78D4-4F5A-9A62-018A3C266535}" destId="{0F54BF83-761F-459E-8693-7F1E9ADF781A}" srcOrd="0" destOrd="0" presId="urn:microsoft.com/office/officeart/2005/8/layout/list1"/>
    <dgm:cxn modelId="{C1F28C6E-BBD1-4BAB-884A-6C18F8D097D7}" type="presParOf" srcId="{BC125C4C-78D4-4F5A-9A62-018A3C266535}" destId="{F23A4A5F-3279-4844-9F37-797736070D7C}" srcOrd="1" destOrd="0" presId="urn:microsoft.com/office/officeart/2005/8/layout/list1"/>
    <dgm:cxn modelId="{4E274685-5756-4F3D-978B-7E028FF05907}" type="presParOf" srcId="{64A981D5-9374-4FCA-A8F4-00E474ED1576}" destId="{04DE1379-AA20-4E15-9D9C-DC1A97877584}" srcOrd="9" destOrd="0" presId="urn:microsoft.com/office/officeart/2005/8/layout/list1"/>
    <dgm:cxn modelId="{289006B7-C8DB-491F-A121-1D411387C74F}" type="presParOf" srcId="{64A981D5-9374-4FCA-A8F4-00E474ED1576}" destId="{416B9D5B-018B-4AD8-95F9-F3A46DF79AF1}" srcOrd="10"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163F71EF-B9E6-4E1F-AC2A-22D3BEEE869B}"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BE2C2768-94F8-43A2-A56D-04501D9120D1}">
      <dgm:prSet/>
      <dgm:spPr/>
      <dgm:t>
        <a:bodyPr/>
        <a:lstStyle/>
        <a:p>
          <a:r>
            <a:rPr lang="en-US"/>
            <a:t>In Azure portal, go to: Subscriptions &gt; select the subscription &gt; resource providers &gt; filter by the word “marketplace” &gt; make sure all three results are enabled for Azure Marketplace.</a:t>
          </a:r>
        </a:p>
      </dgm:t>
    </dgm:pt>
    <dgm:pt modelId="{47922895-F38F-49CD-B260-39531D1EAC94}" type="parTrans" cxnId="{6B158961-54F4-4EA2-9EFA-9C5FFC219CDC}">
      <dgm:prSet/>
      <dgm:spPr/>
      <dgm:t>
        <a:bodyPr/>
        <a:lstStyle/>
        <a:p>
          <a:endParaRPr lang="en-US"/>
        </a:p>
      </dgm:t>
    </dgm:pt>
    <dgm:pt modelId="{CF5ADCAA-71DF-469E-A5A0-8104F9D1C849}" type="sibTrans" cxnId="{6B158961-54F4-4EA2-9EFA-9C5FFC219CDC}">
      <dgm:prSet/>
      <dgm:spPr/>
      <dgm:t>
        <a:bodyPr/>
        <a:lstStyle/>
        <a:p>
          <a:endParaRPr lang="en-US"/>
        </a:p>
      </dgm:t>
    </dgm:pt>
    <dgm:pt modelId="{EEE75EB5-BC23-4D3D-BEDD-72A78D015E71}">
      <dgm:prSet/>
      <dgm:spPr/>
      <dgm:t>
        <a:bodyPr/>
        <a:lstStyle/>
        <a:p>
          <a:r>
            <a:rPr lang="en-US"/>
            <a:t>To find your billing account permissions, go to the Azure portal and select Cost Management &amp; Billing &gt; Billing Scopes &gt; (select the billing account you want) &gt; Access Management (IAM).</a:t>
          </a:r>
        </a:p>
      </dgm:t>
    </dgm:pt>
    <dgm:pt modelId="{98CE6B8D-3909-43F8-B710-970F6C3A3943}" type="parTrans" cxnId="{04D81072-989C-4D71-B512-3FC88FC2C7BB}">
      <dgm:prSet/>
      <dgm:spPr/>
      <dgm:t>
        <a:bodyPr/>
        <a:lstStyle/>
        <a:p>
          <a:endParaRPr lang="en-US"/>
        </a:p>
      </dgm:t>
    </dgm:pt>
    <dgm:pt modelId="{1A7A80EF-A58E-4564-9DFF-E985361915AA}" type="sibTrans" cxnId="{04D81072-989C-4D71-B512-3FC88FC2C7BB}">
      <dgm:prSet/>
      <dgm:spPr/>
      <dgm:t>
        <a:bodyPr/>
        <a:lstStyle/>
        <a:p>
          <a:endParaRPr lang="en-US"/>
        </a:p>
      </dgm:t>
    </dgm:pt>
    <dgm:pt modelId="{C0CD377A-CA32-4C9E-93A9-493B14EC4660}">
      <dgm:prSet/>
      <dgm:spPr/>
      <dgm:t>
        <a:bodyPr/>
        <a:lstStyle/>
        <a:p>
          <a:r>
            <a:rPr lang="en-US"/>
            <a:t>If you don't see the billing account you're looking for, it means you don't have permission to it (including read-only permissions). To learn more, see Billing accounts and scopes in the Azure portal.</a:t>
          </a:r>
        </a:p>
      </dgm:t>
    </dgm:pt>
    <dgm:pt modelId="{D8F6D083-14CA-490E-ABC8-94B9D7A00888}" type="parTrans" cxnId="{1079250A-A6FE-4369-A51E-F7D9FF379212}">
      <dgm:prSet/>
      <dgm:spPr/>
      <dgm:t>
        <a:bodyPr/>
        <a:lstStyle/>
        <a:p>
          <a:endParaRPr lang="en-US"/>
        </a:p>
      </dgm:t>
    </dgm:pt>
    <dgm:pt modelId="{FD59DB9E-5FB5-4B7B-ABD5-834BFB8AF7FE}" type="sibTrans" cxnId="{1079250A-A6FE-4369-A51E-F7D9FF379212}">
      <dgm:prSet/>
      <dgm:spPr/>
      <dgm:t>
        <a:bodyPr/>
        <a:lstStyle/>
        <a:p>
          <a:endParaRPr lang="en-US"/>
        </a:p>
      </dgm:t>
    </dgm:pt>
    <dgm:pt modelId="{38834E6C-939B-4C68-881A-D99A8C0D14B8}">
      <dgm:prSet/>
      <dgm:spPr/>
      <dgm:t>
        <a:bodyPr/>
        <a:lstStyle/>
        <a:p>
          <a:r>
            <a:rPr lang="en-US" dirty="0"/>
            <a:t>To find if you can register third-party applications via SSO, check on </a:t>
          </a:r>
          <a:r>
            <a:rPr lang="en-US" dirty="0" err="1"/>
            <a:t>Entra</a:t>
          </a:r>
          <a:r>
            <a:rPr lang="en-US" dirty="0"/>
            <a:t> ID (Azure AD) menu that users can register applications (Activating your SaaS service requires SSO permissions to third party apps)</a:t>
          </a:r>
        </a:p>
      </dgm:t>
    </dgm:pt>
    <dgm:pt modelId="{00311A1E-646B-4C1F-8716-CC5183456368}" type="parTrans" cxnId="{9AB2DD4C-3BA9-4B95-8562-93607AE8A9E4}">
      <dgm:prSet/>
      <dgm:spPr/>
      <dgm:t>
        <a:bodyPr/>
        <a:lstStyle/>
        <a:p>
          <a:endParaRPr lang="en-US"/>
        </a:p>
      </dgm:t>
    </dgm:pt>
    <dgm:pt modelId="{23CF05F7-9D00-4D40-B29C-C47D41BE992B}" type="sibTrans" cxnId="{9AB2DD4C-3BA9-4B95-8562-93607AE8A9E4}">
      <dgm:prSet/>
      <dgm:spPr/>
      <dgm:t>
        <a:bodyPr/>
        <a:lstStyle/>
        <a:p>
          <a:endParaRPr lang="en-US"/>
        </a:p>
      </dgm:t>
    </dgm:pt>
    <dgm:pt modelId="{61FE7543-30AA-4B58-BD8E-13506D1AA670}" type="pres">
      <dgm:prSet presAssocID="{163F71EF-B9E6-4E1F-AC2A-22D3BEEE869B}" presName="root" presStyleCnt="0">
        <dgm:presLayoutVars>
          <dgm:dir/>
          <dgm:resizeHandles val="exact"/>
        </dgm:presLayoutVars>
      </dgm:prSet>
      <dgm:spPr/>
    </dgm:pt>
    <dgm:pt modelId="{34D98849-A8EC-4512-9D1D-EA7564BB3D55}" type="pres">
      <dgm:prSet presAssocID="{BE2C2768-94F8-43A2-A56D-04501D9120D1}" presName="compNode" presStyleCnt="0"/>
      <dgm:spPr/>
    </dgm:pt>
    <dgm:pt modelId="{3BC6D9BC-D594-49A2-97F6-C14799756212}" type="pres">
      <dgm:prSet presAssocID="{BE2C2768-94F8-43A2-A56D-04501D9120D1}" presName="bgRect" presStyleLbl="bgShp" presStyleIdx="0" presStyleCnt="4"/>
      <dgm:spPr>
        <a:solidFill>
          <a:schemeClr val="accent2">
            <a:lumMod val="60000"/>
            <a:lumOff val="40000"/>
          </a:schemeClr>
        </a:solidFill>
      </dgm:spPr>
    </dgm:pt>
    <dgm:pt modelId="{1C921374-3434-44A4-90B0-7394D130E2D5}" type="pres">
      <dgm:prSet presAssocID="{BE2C2768-94F8-43A2-A56D-04501D9120D1}"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Filter"/>
        </a:ext>
      </dgm:extLst>
    </dgm:pt>
    <dgm:pt modelId="{F6CB4FB4-5B4B-4777-9937-FCBDDD6F3905}" type="pres">
      <dgm:prSet presAssocID="{BE2C2768-94F8-43A2-A56D-04501D9120D1}" presName="spaceRect" presStyleCnt="0"/>
      <dgm:spPr/>
    </dgm:pt>
    <dgm:pt modelId="{1ECBF556-0D7C-496E-88C2-E002786B84B4}" type="pres">
      <dgm:prSet presAssocID="{BE2C2768-94F8-43A2-A56D-04501D9120D1}" presName="parTx" presStyleLbl="revTx" presStyleIdx="0" presStyleCnt="4">
        <dgm:presLayoutVars>
          <dgm:chMax val="0"/>
          <dgm:chPref val="0"/>
        </dgm:presLayoutVars>
      </dgm:prSet>
      <dgm:spPr/>
    </dgm:pt>
    <dgm:pt modelId="{C3329EAF-115F-4BB2-8683-E88890DC87B7}" type="pres">
      <dgm:prSet presAssocID="{CF5ADCAA-71DF-469E-A5A0-8104F9D1C849}" presName="sibTrans" presStyleCnt="0"/>
      <dgm:spPr/>
    </dgm:pt>
    <dgm:pt modelId="{8AC63139-DD7B-49C1-BB9F-C7FFEDB608EF}" type="pres">
      <dgm:prSet presAssocID="{EEE75EB5-BC23-4D3D-BEDD-72A78D015E71}" presName="compNode" presStyleCnt="0"/>
      <dgm:spPr/>
    </dgm:pt>
    <dgm:pt modelId="{63CA4B60-F8C6-41C8-8716-CA007D869189}" type="pres">
      <dgm:prSet presAssocID="{EEE75EB5-BC23-4D3D-BEDD-72A78D015E71}" presName="bgRect" presStyleLbl="bgShp" presStyleIdx="1" presStyleCnt="4"/>
      <dgm:spPr>
        <a:solidFill>
          <a:schemeClr val="accent2">
            <a:lumMod val="60000"/>
            <a:lumOff val="40000"/>
          </a:schemeClr>
        </a:solidFill>
      </dgm:spPr>
    </dgm:pt>
    <dgm:pt modelId="{C95DB5FA-1F17-46B1-86BC-9E3E95817252}" type="pres">
      <dgm:prSet presAssocID="{EEE75EB5-BC23-4D3D-BEDD-72A78D015E71}"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Information"/>
        </a:ext>
      </dgm:extLst>
    </dgm:pt>
    <dgm:pt modelId="{36265DE2-E35E-442B-A9FB-D4B6E38D7C28}" type="pres">
      <dgm:prSet presAssocID="{EEE75EB5-BC23-4D3D-BEDD-72A78D015E71}" presName="spaceRect" presStyleCnt="0"/>
      <dgm:spPr/>
    </dgm:pt>
    <dgm:pt modelId="{2F057E3F-FBBF-4E63-8B0E-9CB7DB4A0626}" type="pres">
      <dgm:prSet presAssocID="{EEE75EB5-BC23-4D3D-BEDD-72A78D015E71}" presName="parTx" presStyleLbl="revTx" presStyleIdx="1" presStyleCnt="4">
        <dgm:presLayoutVars>
          <dgm:chMax val="0"/>
          <dgm:chPref val="0"/>
        </dgm:presLayoutVars>
      </dgm:prSet>
      <dgm:spPr/>
    </dgm:pt>
    <dgm:pt modelId="{D9D1F2D4-561C-4DF6-AA39-FB02AA471B1A}" type="pres">
      <dgm:prSet presAssocID="{1A7A80EF-A58E-4564-9DFF-E985361915AA}" presName="sibTrans" presStyleCnt="0"/>
      <dgm:spPr/>
    </dgm:pt>
    <dgm:pt modelId="{F6179E35-B45C-4AC9-8419-42F707F085C0}" type="pres">
      <dgm:prSet presAssocID="{C0CD377A-CA32-4C9E-93A9-493B14EC4660}" presName="compNode" presStyleCnt="0"/>
      <dgm:spPr/>
    </dgm:pt>
    <dgm:pt modelId="{686572CC-AF7A-44B7-B838-130EA4B7245B}" type="pres">
      <dgm:prSet presAssocID="{C0CD377A-CA32-4C9E-93A9-493B14EC4660}" presName="bgRect" presStyleLbl="bgShp" presStyleIdx="2" presStyleCnt="4"/>
      <dgm:spPr>
        <a:solidFill>
          <a:schemeClr val="accent2">
            <a:lumMod val="60000"/>
            <a:lumOff val="40000"/>
          </a:schemeClr>
        </a:solidFill>
      </dgm:spPr>
    </dgm:pt>
    <dgm:pt modelId="{0CD868EC-EE32-475D-8542-567FC0023D53}" type="pres">
      <dgm:prSet presAssocID="{C0CD377A-CA32-4C9E-93A9-493B14EC4660}"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Credit card"/>
        </a:ext>
      </dgm:extLst>
    </dgm:pt>
    <dgm:pt modelId="{D4C1A085-1FB7-40C8-A23E-CE0E4289D5FD}" type="pres">
      <dgm:prSet presAssocID="{C0CD377A-CA32-4C9E-93A9-493B14EC4660}" presName="spaceRect" presStyleCnt="0"/>
      <dgm:spPr/>
    </dgm:pt>
    <dgm:pt modelId="{FC3DE67C-4ECC-4EFC-9242-181B62B20B64}" type="pres">
      <dgm:prSet presAssocID="{C0CD377A-CA32-4C9E-93A9-493B14EC4660}" presName="parTx" presStyleLbl="revTx" presStyleIdx="2" presStyleCnt="4">
        <dgm:presLayoutVars>
          <dgm:chMax val="0"/>
          <dgm:chPref val="0"/>
        </dgm:presLayoutVars>
      </dgm:prSet>
      <dgm:spPr/>
    </dgm:pt>
    <dgm:pt modelId="{D126484C-16EF-4DBB-89C2-0BA22C9C2025}" type="pres">
      <dgm:prSet presAssocID="{FD59DB9E-5FB5-4B7B-ABD5-834BFB8AF7FE}" presName="sibTrans" presStyleCnt="0"/>
      <dgm:spPr/>
    </dgm:pt>
    <dgm:pt modelId="{49ED04DA-C58B-45D0-B7F3-6D3572B905CB}" type="pres">
      <dgm:prSet presAssocID="{38834E6C-939B-4C68-881A-D99A8C0D14B8}" presName="compNode" presStyleCnt="0"/>
      <dgm:spPr/>
    </dgm:pt>
    <dgm:pt modelId="{9AD606DB-863A-4EB8-8DA7-881F8AF4E8B3}" type="pres">
      <dgm:prSet presAssocID="{38834E6C-939B-4C68-881A-D99A8C0D14B8}" presName="bgRect" presStyleLbl="bgShp" presStyleIdx="3" presStyleCnt="4"/>
      <dgm:spPr>
        <a:solidFill>
          <a:schemeClr val="accent2">
            <a:lumMod val="60000"/>
            <a:lumOff val="40000"/>
          </a:schemeClr>
        </a:solidFill>
      </dgm:spPr>
    </dgm:pt>
    <dgm:pt modelId="{2E50BE81-51C7-4DD6-A7C2-5B00583819D8}" type="pres">
      <dgm:prSet presAssocID="{38834E6C-939B-4C68-881A-D99A8C0D14B8}"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Server"/>
        </a:ext>
      </dgm:extLst>
    </dgm:pt>
    <dgm:pt modelId="{865CB04E-123B-40FC-B92D-28C2B8C827D2}" type="pres">
      <dgm:prSet presAssocID="{38834E6C-939B-4C68-881A-D99A8C0D14B8}" presName="spaceRect" presStyleCnt="0"/>
      <dgm:spPr/>
    </dgm:pt>
    <dgm:pt modelId="{3FB9BD47-0F23-421E-B830-2B25D95CEE3C}" type="pres">
      <dgm:prSet presAssocID="{38834E6C-939B-4C68-881A-D99A8C0D14B8}" presName="parTx" presStyleLbl="revTx" presStyleIdx="3" presStyleCnt="4">
        <dgm:presLayoutVars>
          <dgm:chMax val="0"/>
          <dgm:chPref val="0"/>
        </dgm:presLayoutVars>
      </dgm:prSet>
      <dgm:spPr/>
    </dgm:pt>
  </dgm:ptLst>
  <dgm:cxnLst>
    <dgm:cxn modelId="{4D1C9B06-2E60-4511-922C-0663B312365F}" type="presOf" srcId="{BE2C2768-94F8-43A2-A56D-04501D9120D1}" destId="{1ECBF556-0D7C-496E-88C2-E002786B84B4}" srcOrd="0" destOrd="0" presId="urn:microsoft.com/office/officeart/2018/2/layout/IconVerticalSolidList"/>
    <dgm:cxn modelId="{CF8A1708-A3FE-4FFE-A539-0A33F3461513}" type="presOf" srcId="{EEE75EB5-BC23-4D3D-BEDD-72A78D015E71}" destId="{2F057E3F-FBBF-4E63-8B0E-9CB7DB4A0626}" srcOrd="0" destOrd="0" presId="urn:microsoft.com/office/officeart/2018/2/layout/IconVerticalSolidList"/>
    <dgm:cxn modelId="{1079250A-A6FE-4369-A51E-F7D9FF379212}" srcId="{163F71EF-B9E6-4E1F-AC2A-22D3BEEE869B}" destId="{C0CD377A-CA32-4C9E-93A9-493B14EC4660}" srcOrd="2" destOrd="0" parTransId="{D8F6D083-14CA-490E-ABC8-94B9D7A00888}" sibTransId="{FD59DB9E-5FB5-4B7B-ABD5-834BFB8AF7FE}"/>
    <dgm:cxn modelId="{6B158961-54F4-4EA2-9EFA-9C5FFC219CDC}" srcId="{163F71EF-B9E6-4E1F-AC2A-22D3BEEE869B}" destId="{BE2C2768-94F8-43A2-A56D-04501D9120D1}" srcOrd="0" destOrd="0" parTransId="{47922895-F38F-49CD-B260-39531D1EAC94}" sibTransId="{CF5ADCAA-71DF-469E-A5A0-8104F9D1C849}"/>
    <dgm:cxn modelId="{9CEF9962-3705-4FAD-8331-BA36007AE0F6}" type="presOf" srcId="{163F71EF-B9E6-4E1F-AC2A-22D3BEEE869B}" destId="{61FE7543-30AA-4B58-BD8E-13506D1AA670}" srcOrd="0" destOrd="0" presId="urn:microsoft.com/office/officeart/2018/2/layout/IconVerticalSolidList"/>
    <dgm:cxn modelId="{9AB2DD4C-3BA9-4B95-8562-93607AE8A9E4}" srcId="{163F71EF-B9E6-4E1F-AC2A-22D3BEEE869B}" destId="{38834E6C-939B-4C68-881A-D99A8C0D14B8}" srcOrd="3" destOrd="0" parTransId="{00311A1E-646B-4C1F-8716-CC5183456368}" sibTransId="{23CF05F7-9D00-4D40-B29C-C47D41BE992B}"/>
    <dgm:cxn modelId="{13AB4950-B37B-4B5D-9F3C-6FB5E5D32AF9}" type="presOf" srcId="{38834E6C-939B-4C68-881A-D99A8C0D14B8}" destId="{3FB9BD47-0F23-421E-B830-2B25D95CEE3C}" srcOrd="0" destOrd="0" presId="urn:microsoft.com/office/officeart/2018/2/layout/IconVerticalSolidList"/>
    <dgm:cxn modelId="{04D81072-989C-4D71-B512-3FC88FC2C7BB}" srcId="{163F71EF-B9E6-4E1F-AC2A-22D3BEEE869B}" destId="{EEE75EB5-BC23-4D3D-BEDD-72A78D015E71}" srcOrd="1" destOrd="0" parTransId="{98CE6B8D-3909-43F8-B710-970F6C3A3943}" sibTransId="{1A7A80EF-A58E-4564-9DFF-E985361915AA}"/>
    <dgm:cxn modelId="{87BBD8FA-E279-4139-853E-4517C685F5FA}" type="presOf" srcId="{C0CD377A-CA32-4C9E-93A9-493B14EC4660}" destId="{FC3DE67C-4ECC-4EFC-9242-181B62B20B64}" srcOrd="0" destOrd="0" presId="urn:microsoft.com/office/officeart/2018/2/layout/IconVerticalSolidList"/>
    <dgm:cxn modelId="{F7CCF272-ABE8-4194-B555-329475AB215D}" type="presParOf" srcId="{61FE7543-30AA-4B58-BD8E-13506D1AA670}" destId="{34D98849-A8EC-4512-9D1D-EA7564BB3D55}" srcOrd="0" destOrd="0" presId="urn:microsoft.com/office/officeart/2018/2/layout/IconVerticalSolidList"/>
    <dgm:cxn modelId="{A96BC51B-EF0F-4AC3-90A6-52019B1287E2}" type="presParOf" srcId="{34D98849-A8EC-4512-9D1D-EA7564BB3D55}" destId="{3BC6D9BC-D594-49A2-97F6-C14799756212}" srcOrd="0" destOrd="0" presId="urn:microsoft.com/office/officeart/2018/2/layout/IconVerticalSolidList"/>
    <dgm:cxn modelId="{44F7DE2C-96D6-4A8C-8A2C-FDAF535074E1}" type="presParOf" srcId="{34D98849-A8EC-4512-9D1D-EA7564BB3D55}" destId="{1C921374-3434-44A4-90B0-7394D130E2D5}" srcOrd="1" destOrd="0" presId="urn:microsoft.com/office/officeart/2018/2/layout/IconVerticalSolidList"/>
    <dgm:cxn modelId="{33EDAA1D-AB7E-4BF2-8A40-1D3E661A4DCD}" type="presParOf" srcId="{34D98849-A8EC-4512-9D1D-EA7564BB3D55}" destId="{F6CB4FB4-5B4B-4777-9937-FCBDDD6F3905}" srcOrd="2" destOrd="0" presId="urn:microsoft.com/office/officeart/2018/2/layout/IconVerticalSolidList"/>
    <dgm:cxn modelId="{69FD8A73-D227-47BB-8232-93D258C1F759}" type="presParOf" srcId="{34D98849-A8EC-4512-9D1D-EA7564BB3D55}" destId="{1ECBF556-0D7C-496E-88C2-E002786B84B4}" srcOrd="3" destOrd="0" presId="urn:microsoft.com/office/officeart/2018/2/layout/IconVerticalSolidList"/>
    <dgm:cxn modelId="{E41D5E10-9FD4-452F-B467-03A385A8C3AE}" type="presParOf" srcId="{61FE7543-30AA-4B58-BD8E-13506D1AA670}" destId="{C3329EAF-115F-4BB2-8683-E88890DC87B7}" srcOrd="1" destOrd="0" presId="urn:microsoft.com/office/officeart/2018/2/layout/IconVerticalSolidList"/>
    <dgm:cxn modelId="{390981C0-3FB5-487D-A4BE-8F903FD8E582}" type="presParOf" srcId="{61FE7543-30AA-4B58-BD8E-13506D1AA670}" destId="{8AC63139-DD7B-49C1-BB9F-C7FFEDB608EF}" srcOrd="2" destOrd="0" presId="urn:microsoft.com/office/officeart/2018/2/layout/IconVerticalSolidList"/>
    <dgm:cxn modelId="{464F8749-BABB-4B64-8081-2DFEFCA82092}" type="presParOf" srcId="{8AC63139-DD7B-49C1-BB9F-C7FFEDB608EF}" destId="{63CA4B60-F8C6-41C8-8716-CA007D869189}" srcOrd="0" destOrd="0" presId="urn:microsoft.com/office/officeart/2018/2/layout/IconVerticalSolidList"/>
    <dgm:cxn modelId="{30D21092-CA7F-45CD-B16D-49F5AA9827B6}" type="presParOf" srcId="{8AC63139-DD7B-49C1-BB9F-C7FFEDB608EF}" destId="{C95DB5FA-1F17-46B1-86BC-9E3E95817252}" srcOrd="1" destOrd="0" presId="urn:microsoft.com/office/officeart/2018/2/layout/IconVerticalSolidList"/>
    <dgm:cxn modelId="{0423CDDD-218E-474C-BEA5-030D94114C7D}" type="presParOf" srcId="{8AC63139-DD7B-49C1-BB9F-C7FFEDB608EF}" destId="{36265DE2-E35E-442B-A9FB-D4B6E38D7C28}" srcOrd="2" destOrd="0" presId="urn:microsoft.com/office/officeart/2018/2/layout/IconVerticalSolidList"/>
    <dgm:cxn modelId="{ABC04AF6-FC01-462E-B117-6971022E9CA4}" type="presParOf" srcId="{8AC63139-DD7B-49C1-BB9F-C7FFEDB608EF}" destId="{2F057E3F-FBBF-4E63-8B0E-9CB7DB4A0626}" srcOrd="3" destOrd="0" presId="urn:microsoft.com/office/officeart/2018/2/layout/IconVerticalSolidList"/>
    <dgm:cxn modelId="{0B9EE71A-5E67-4F67-B3A3-67A0106B6366}" type="presParOf" srcId="{61FE7543-30AA-4B58-BD8E-13506D1AA670}" destId="{D9D1F2D4-561C-4DF6-AA39-FB02AA471B1A}" srcOrd="3" destOrd="0" presId="urn:microsoft.com/office/officeart/2018/2/layout/IconVerticalSolidList"/>
    <dgm:cxn modelId="{BB9710CE-43DD-4072-84EC-20809B087AE4}" type="presParOf" srcId="{61FE7543-30AA-4B58-BD8E-13506D1AA670}" destId="{F6179E35-B45C-4AC9-8419-42F707F085C0}" srcOrd="4" destOrd="0" presId="urn:microsoft.com/office/officeart/2018/2/layout/IconVerticalSolidList"/>
    <dgm:cxn modelId="{F3C8E5F2-9B69-4085-B58A-B8946290770D}" type="presParOf" srcId="{F6179E35-B45C-4AC9-8419-42F707F085C0}" destId="{686572CC-AF7A-44B7-B838-130EA4B7245B}" srcOrd="0" destOrd="0" presId="urn:microsoft.com/office/officeart/2018/2/layout/IconVerticalSolidList"/>
    <dgm:cxn modelId="{F34DD08D-8DE8-4E58-BC88-584410AC582D}" type="presParOf" srcId="{F6179E35-B45C-4AC9-8419-42F707F085C0}" destId="{0CD868EC-EE32-475D-8542-567FC0023D53}" srcOrd="1" destOrd="0" presId="urn:microsoft.com/office/officeart/2018/2/layout/IconVerticalSolidList"/>
    <dgm:cxn modelId="{85E7EC23-127E-436D-BE0F-F9DFF7A933E3}" type="presParOf" srcId="{F6179E35-B45C-4AC9-8419-42F707F085C0}" destId="{D4C1A085-1FB7-40C8-A23E-CE0E4289D5FD}" srcOrd="2" destOrd="0" presId="urn:microsoft.com/office/officeart/2018/2/layout/IconVerticalSolidList"/>
    <dgm:cxn modelId="{C6227506-DB88-4B32-A172-E30F38928B54}" type="presParOf" srcId="{F6179E35-B45C-4AC9-8419-42F707F085C0}" destId="{FC3DE67C-4ECC-4EFC-9242-181B62B20B64}" srcOrd="3" destOrd="0" presId="urn:microsoft.com/office/officeart/2018/2/layout/IconVerticalSolidList"/>
    <dgm:cxn modelId="{8080EA2E-6B42-4914-B290-0166E4B619BA}" type="presParOf" srcId="{61FE7543-30AA-4B58-BD8E-13506D1AA670}" destId="{D126484C-16EF-4DBB-89C2-0BA22C9C2025}" srcOrd="5" destOrd="0" presId="urn:microsoft.com/office/officeart/2018/2/layout/IconVerticalSolidList"/>
    <dgm:cxn modelId="{C8C7BD4A-F25E-4017-B9AF-8E5B2B95B3C0}" type="presParOf" srcId="{61FE7543-30AA-4B58-BD8E-13506D1AA670}" destId="{49ED04DA-C58B-45D0-B7F3-6D3572B905CB}" srcOrd="6" destOrd="0" presId="urn:microsoft.com/office/officeart/2018/2/layout/IconVerticalSolidList"/>
    <dgm:cxn modelId="{1B9D5FF0-EF40-4613-A62D-245938AD77D0}" type="presParOf" srcId="{49ED04DA-C58B-45D0-B7F3-6D3572B905CB}" destId="{9AD606DB-863A-4EB8-8DA7-881F8AF4E8B3}" srcOrd="0" destOrd="0" presId="urn:microsoft.com/office/officeart/2018/2/layout/IconVerticalSolidList"/>
    <dgm:cxn modelId="{C58A8AB8-EB0C-4657-973A-5AD2C7B94491}" type="presParOf" srcId="{49ED04DA-C58B-45D0-B7F3-6D3572B905CB}" destId="{2E50BE81-51C7-4DD6-A7C2-5B00583819D8}" srcOrd="1" destOrd="0" presId="urn:microsoft.com/office/officeart/2018/2/layout/IconVerticalSolidList"/>
    <dgm:cxn modelId="{338C835B-CC04-4B58-9364-B58C8F9190A1}" type="presParOf" srcId="{49ED04DA-C58B-45D0-B7F3-6D3572B905CB}" destId="{865CB04E-123B-40FC-B92D-28C2B8C827D2}" srcOrd="2" destOrd="0" presId="urn:microsoft.com/office/officeart/2018/2/layout/IconVerticalSolidList"/>
    <dgm:cxn modelId="{1BBCB4F2-2E10-42A5-80AD-28566995DDC1}" type="presParOf" srcId="{49ED04DA-C58B-45D0-B7F3-6D3572B905CB}" destId="{3FB9BD47-0F23-421E-B830-2B25D95CEE3C}"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A64C2B61-EEBB-4B3C-9976-93B80A2307F8}" type="doc">
      <dgm:prSet loTypeId="urn:microsoft.com/office/officeart/2018/5/layout/IconCircleLabelList" loCatId="icon" qsTypeId="urn:microsoft.com/office/officeart/2005/8/quickstyle/simple1" qsCatId="simple" csTypeId="urn:microsoft.com/office/officeart/2005/8/colors/accent2_2" csCatId="accent2" phldr="1"/>
      <dgm:spPr/>
      <dgm:t>
        <a:bodyPr/>
        <a:lstStyle/>
        <a:p>
          <a:endParaRPr lang="en-US"/>
        </a:p>
      </dgm:t>
    </dgm:pt>
    <dgm:pt modelId="{2E7446D6-C7BA-44E1-9708-0D01C3E92BD9}">
      <dgm:prSet/>
      <dgm:spPr/>
      <dgm:t>
        <a:bodyPr/>
        <a:lstStyle/>
        <a:p>
          <a:pPr>
            <a:defRPr cap="all"/>
          </a:pPr>
          <a:r>
            <a:rPr lang="en-US" baseline="0" dirty="0"/>
            <a:t>Access to the Marketplace requires Proper Azure Credentials</a:t>
          </a:r>
          <a:endParaRPr lang="en-US" dirty="0"/>
        </a:p>
      </dgm:t>
    </dgm:pt>
    <dgm:pt modelId="{BD606203-DC99-4F9F-8EAF-69DE36CDC4C9}" type="parTrans" cxnId="{27645E20-0A34-457F-899B-E17336D39E18}">
      <dgm:prSet/>
      <dgm:spPr/>
      <dgm:t>
        <a:bodyPr/>
        <a:lstStyle/>
        <a:p>
          <a:endParaRPr lang="en-US"/>
        </a:p>
      </dgm:t>
    </dgm:pt>
    <dgm:pt modelId="{B5953AB4-794C-4EF0-B484-534E5D58BB72}" type="sibTrans" cxnId="{27645E20-0A34-457F-899B-E17336D39E18}">
      <dgm:prSet/>
      <dgm:spPr/>
      <dgm:t>
        <a:bodyPr/>
        <a:lstStyle/>
        <a:p>
          <a:endParaRPr lang="en-US"/>
        </a:p>
      </dgm:t>
    </dgm:pt>
    <dgm:pt modelId="{EFB3A3B2-423D-484E-A149-379E9FC18548}">
      <dgm:prSet/>
      <dgm:spPr/>
      <dgm:t>
        <a:bodyPr/>
        <a:lstStyle/>
        <a:p>
          <a:pPr>
            <a:defRPr cap="all"/>
          </a:pPr>
          <a:r>
            <a:rPr lang="en-US" baseline="0"/>
            <a:t>Provides SSO for users</a:t>
          </a:r>
          <a:endParaRPr lang="en-US"/>
        </a:p>
      </dgm:t>
    </dgm:pt>
    <dgm:pt modelId="{073120C8-1FAE-4150-BDCC-89C7BCC6F6D1}" type="parTrans" cxnId="{CC61604C-189C-408F-A7A8-D9B0E42AA29E}">
      <dgm:prSet/>
      <dgm:spPr/>
      <dgm:t>
        <a:bodyPr/>
        <a:lstStyle/>
        <a:p>
          <a:endParaRPr lang="en-US"/>
        </a:p>
      </dgm:t>
    </dgm:pt>
    <dgm:pt modelId="{B47A5B7E-2EC0-4A4B-8B07-2FB63F0D4FDF}" type="sibTrans" cxnId="{CC61604C-189C-408F-A7A8-D9B0E42AA29E}">
      <dgm:prSet/>
      <dgm:spPr/>
      <dgm:t>
        <a:bodyPr/>
        <a:lstStyle/>
        <a:p>
          <a:endParaRPr lang="en-US"/>
        </a:p>
      </dgm:t>
    </dgm:pt>
    <dgm:pt modelId="{6B036628-9C58-440B-B661-999914C05E21}">
      <dgm:prSet/>
      <dgm:spPr/>
      <dgm:t>
        <a:bodyPr/>
        <a:lstStyle/>
        <a:p>
          <a:pPr>
            <a:defRPr cap="all"/>
          </a:pPr>
          <a:r>
            <a:rPr lang="en-US" baseline="0" dirty="0"/>
            <a:t>Allows users to login through SSO to Procurement systems</a:t>
          </a:r>
          <a:endParaRPr lang="en-US" dirty="0"/>
        </a:p>
      </dgm:t>
    </dgm:pt>
    <dgm:pt modelId="{15DE994C-E9E4-4009-8BC8-CD000420D30B}" type="parTrans" cxnId="{6CAE884D-1D5E-4372-A684-D7923031A930}">
      <dgm:prSet/>
      <dgm:spPr/>
      <dgm:t>
        <a:bodyPr/>
        <a:lstStyle/>
        <a:p>
          <a:endParaRPr lang="en-US"/>
        </a:p>
      </dgm:t>
    </dgm:pt>
    <dgm:pt modelId="{BD775361-7204-4E8A-AA2C-D40FD0224A71}" type="sibTrans" cxnId="{6CAE884D-1D5E-4372-A684-D7923031A930}">
      <dgm:prSet/>
      <dgm:spPr/>
      <dgm:t>
        <a:bodyPr/>
        <a:lstStyle/>
        <a:p>
          <a:endParaRPr lang="en-US"/>
        </a:p>
      </dgm:t>
    </dgm:pt>
    <dgm:pt modelId="{A1920D4E-34DF-45D5-9E58-5D816DA1FA2C}">
      <dgm:prSet/>
      <dgm:spPr/>
      <dgm:t>
        <a:bodyPr/>
        <a:lstStyle/>
        <a:p>
          <a:pPr>
            <a:defRPr cap="all"/>
          </a:pPr>
          <a:r>
            <a:rPr lang="en-US" baseline="0"/>
            <a:t>User governance for access to Marketplace</a:t>
          </a:r>
          <a:endParaRPr lang="en-US"/>
        </a:p>
      </dgm:t>
    </dgm:pt>
    <dgm:pt modelId="{8FFDC28D-DF3E-4B75-8225-0BCBF2A4635F}" type="parTrans" cxnId="{F65D0A69-1A32-4245-A654-8515A0B343DE}">
      <dgm:prSet/>
      <dgm:spPr/>
      <dgm:t>
        <a:bodyPr/>
        <a:lstStyle/>
        <a:p>
          <a:endParaRPr lang="en-US"/>
        </a:p>
      </dgm:t>
    </dgm:pt>
    <dgm:pt modelId="{2895EDC5-2567-467C-917A-031E8A259C13}" type="sibTrans" cxnId="{F65D0A69-1A32-4245-A654-8515A0B343DE}">
      <dgm:prSet/>
      <dgm:spPr/>
      <dgm:t>
        <a:bodyPr/>
        <a:lstStyle/>
        <a:p>
          <a:endParaRPr lang="en-US"/>
        </a:p>
      </dgm:t>
    </dgm:pt>
    <dgm:pt modelId="{7F3968B9-1CB9-42EF-B76A-B306FDFCEFFB}" type="pres">
      <dgm:prSet presAssocID="{A64C2B61-EEBB-4B3C-9976-93B80A2307F8}" presName="root" presStyleCnt="0">
        <dgm:presLayoutVars>
          <dgm:dir/>
          <dgm:resizeHandles val="exact"/>
        </dgm:presLayoutVars>
      </dgm:prSet>
      <dgm:spPr/>
    </dgm:pt>
    <dgm:pt modelId="{82C7CACA-B158-491D-95C9-84DA02C093DA}" type="pres">
      <dgm:prSet presAssocID="{2E7446D6-C7BA-44E1-9708-0D01C3E92BD9}" presName="compNode" presStyleCnt="0"/>
      <dgm:spPr/>
    </dgm:pt>
    <dgm:pt modelId="{D02106EA-0AC8-4B5D-983D-94EF5E112A7B}" type="pres">
      <dgm:prSet presAssocID="{2E7446D6-C7BA-44E1-9708-0D01C3E92BD9}" presName="iconBgRect" presStyleLbl="bgShp" presStyleIdx="0" presStyleCnt="4"/>
      <dgm:spPr/>
    </dgm:pt>
    <dgm:pt modelId="{A5434BC8-4479-430A-913B-4E937F5EC312}" type="pres">
      <dgm:prSet presAssocID="{2E7446D6-C7BA-44E1-9708-0D01C3E92BD9}"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Checkmark"/>
        </a:ext>
      </dgm:extLst>
    </dgm:pt>
    <dgm:pt modelId="{5AA937DF-DFD3-4E5A-8074-53AA62511278}" type="pres">
      <dgm:prSet presAssocID="{2E7446D6-C7BA-44E1-9708-0D01C3E92BD9}" presName="spaceRect" presStyleCnt="0"/>
      <dgm:spPr/>
    </dgm:pt>
    <dgm:pt modelId="{B43480CE-2919-417F-BF34-997133081734}" type="pres">
      <dgm:prSet presAssocID="{2E7446D6-C7BA-44E1-9708-0D01C3E92BD9}" presName="textRect" presStyleLbl="revTx" presStyleIdx="0" presStyleCnt="4">
        <dgm:presLayoutVars>
          <dgm:chMax val="1"/>
          <dgm:chPref val="1"/>
        </dgm:presLayoutVars>
      </dgm:prSet>
      <dgm:spPr/>
    </dgm:pt>
    <dgm:pt modelId="{42F487DC-7AB1-4848-A124-98F8DA23F4AC}" type="pres">
      <dgm:prSet presAssocID="{B5953AB4-794C-4EF0-B484-534E5D58BB72}" presName="sibTrans" presStyleCnt="0"/>
      <dgm:spPr/>
    </dgm:pt>
    <dgm:pt modelId="{F28A0B9E-C174-44BC-A7E7-42FFFFE2D2A3}" type="pres">
      <dgm:prSet presAssocID="{EFB3A3B2-423D-484E-A149-379E9FC18548}" presName="compNode" presStyleCnt="0"/>
      <dgm:spPr/>
    </dgm:pt>
    <dgm:pt modelId="{0EB1D68C-8980-4D51-BDDB-EFCB6DF1E2DB}" type="pres">
      <dgm:prSet presAssocID="{EFB3A3B2-423D-484E-A149-379E9FC18548}" presName="iconBgRect" presStyleLbl="bgShp" presStyleIdx="1" presStyleCnt="4"/>
      <dgm:spPr/>
    </dgm:pt>
    <dgm:pt modelId="{4F46459C-42B4-4207-A1E6-E13FF0339821}" type="pres">
      <dgm:prSet presAssocID="{EFB3A3B2-423D-484E-A149-379E9FC18548}"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User"/>
        </a:ext>
      </dgm:extLst>
    </dgm:pt>
    <dgm:pt modelId="{81F57A1C-6AA9-4492-81AD-9AFBE26C00E9}" type="pres">
      <dgm:prSet presAssocID="{EFB3A3B2-423D-484E-A149-379E9FC18548}" presName="spaceRect" presStyleCnt="0"/>
      <dgm:spPr/>
    </dgm:pt>
    <dgm:pt modelId="{45F141F5-6920-4C44-AA69-BCB98DA9A01C}" type="pres">
      <dgm:prSet presAssocID="{EFB3A3B2-423D-484E-A149-379E9FC18548}" presName="textRect" presStyleLbl="revTx" presStyleIdx="1" presStyleCnt="4">
        <dgm:presLayoutVars>
          <dgm:chMax val="1"/>
          <dgm:chPref val="1"/>
        </dgm:presLayoutVars>
      </dgm:prSet>
      <dgm:spPr/>
    </dgm:pt>
    <dgm:pt modelId="{87C89F07-2FD5-4F54-A6B3-7C8862D0DBE9}" type="pres">
      <dgm:prSet presAssocID="{B47A5B7E-2EC0-4A4B-8B07-2FB63F0D4FDF}" presName="sibTrans" presStyleCnt="0"/>
      <dgm:spPr/>
    </dgm:pt>
    <dgm:pt modelId="{58889D02-BCD3-456A-B44E-14A16C78282F}" type="pres">
      <dgm:prSet presAssocID="{6B036628-9C58-440B-B661-999914C05E21}" presName="compNode" presStyleCnt="0"/>
      <dgm:spPr/>
    </dgm:pt>
    <dgm:pt modelId="{3393C2F6-81E3-450B-B932-EE5CE1CBB445}" type="pres">
      <dgm:prSet presAssocID="{6B036628-9C58-440B-B661-999914C05E21}" presName="iconBgRect" presStyleLbl="bgShp" presStyleIdx="2" presStyleCnt="4"/>
      <dgm:spPr/>
    </dgm:pt>
    <dgm:pt modelId="{EC0C9BAE-8634-4DEE-AD0A-E80E62775AD7}" type="pres">
      <dgm:prSet presAssocID="{6B036628-9C58-440B-B661-999914C05E21}"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Laptop"/>
        </a:ext>
      </dgm:extLst>
    </dgm:pt>
    <dgm:pt modelId="{2E4DCE00-B91F-4237-905E-33818927040E}" type="pres">
      <dgm:prSet presAssocID="{6B036628-9C58-440B-B661-999914C05E21}" presName="spaceRect" presStyleCnt="0"/>
      <dgm:spPr/>
    </dgm:pt>
    <dgm:pt modelId="{66B0C3D6-EED9-4338-BA86-F34F9481DC71}" type="pres">
      <dgm:prSet presAssocID="{6B036628-9C58-440B-B661-999914C05E21}" presName="textRect" presStyleLbl="revTx" presStyleIdx="2" presStyleCnt="4">
        <dgm:presLayoutVars>
          <dgm:chMax val="1"/>
          <dgm:chPref val="1"/>
        </dgm:presLayoutVars>
      </dgm:prSet>
      <dgm:spPr/>
    </dgm:pt>
    <dgm:pt modelId="{E5F73650-00A4-4239-AE29-F71F3989E0B7}" type="pres">
      <dgm:prSet presAssocID="{BD775361-7204-4E8A-AA2C-D40FD0224A71}" presName="sibTrans" presStyleCnt="0"/>
      <dgm:spPr/>
    </dgm:pt>
    <dgm:pt modelId="{BFBB3DBC-F93D-45B9-AD57-371C61D8160F}" type="pres">
      <dgm:prSet presAssocID="{A1920D4E-34DF-45D5-9E58-5D816DA1FA2C}" presName="compNode" presStyleCnt="0"/>
      <dgm:spPr/>
    </dgm:pt>
    <dgm:pt modelId="{305DA574-F90B-41DE-8FB7-F89349DB75DD}" type="pres">
      <dgm:prSet presAssocID="{A1920D4E-34DF-45D5-9E58-5D816DA1FA2C}" presName="iconBgRect" presStyleLbl="bgShp" presStyleIdx="3" presStyleCnt="4"/>
      <dgm:spPr/>
    </dgm:pt>
    <dgm:pt modelId="{88622E50-53E1-4275-B7F2-88D2F91EC132}" type="pres">
      <dgm:prSet presAssocID="{A1920D4E-34DF-45D5-9E58-5D816DA1FA2C}"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Users"/>
        </a:ext>
      </dgm:extLst>
    </dgm:pt>
    <dgm:pt modelId="{07BA9AA5-525C-4177-9AF4-07FFD7453527}" type="pres">
      <dgm:prSet presAssocID="{A1920D4E-34DF-45D5-9E58-5D816DA1FA2C}" presName="spaceRect" presStyleCnt="0"/>
      <dgm:spPr/>
    </dgm:pt>
    <dgm:pt modelId="{30A1736A-6D2A-4C09-BDDA-D08F75FBD65E}" type="pres">
      <dgm:prSet presAssocID="{A1920D4E-34DF-45D5-9E58-5D816DA1FA2C}" presName="textRect" presStyleLbl="revTx" presStyleIdx="3" presStyleCnt="4">
        <dgm:presLayoutVars>
          <dgm:chMax val="1"/>
          <dgm:chPref val="1"/>
        </dgm:presLayoutVars>
      </dgm:prSet>
      <dgm:spPr/>
    </dgm:pt>
  </dgm:ptLst>
  <dgm:cxnLst>
    <dgm:cxn modelId="{27645E20-0A34-457F-899B-E17336D39E18}" srcId="{A64C2B61-EEBB-4B3C-9976-93B80A2307F8}" destId="{2E7446D6-C7BA-44E1-9708-0D01C3E92BD9}" srcOrd="0" destOrd="0" parTransId="{BD606203-DC99-4F9F-8EAF-69DE36CDC4C9}" sibTransId="{B5953AB4-794C-4EF0-B484-534E5D58BB72}"/>
    <dgm:cxn modelId="{F65D0A69-1A32-4245-A654-8515A0B343DE}" srcId="{A64C2B61-EEBB-4B3C-9976-93B80A2307F8}" destId="{A1920D4E-34DF-45D5-9E58-5D816DA1FA2C}" srcOrd="3" destOrd="0" parTransId="{8FFDC28D-DF3E-4B75-8225-0BCBF2A4635F}" sibTransId="{2895EDC5-2567-467C-917A-031E8A259C13}"/>
    <dgm:cxn modelId="{CC61604C-189C-408F-A7A8-D9B0E42AA29E}" srcId="{A64C2B61-EEBB-4B3C-9976-93B80A2307F8}" destId="{EFB3A3B2-423D-484E-A149-379E9FC18548}" srcOrd="1" destOrd="0" parTransId="{073120C8-1FAE-4150-BDCC-89C7BCC6F6D1}" sibTransId="{B47A5B7E-2EC0-4A4B-8B07-2FB63F0D4FDF}"/>
    <dgm:cxn modelId="{6CAE884D-1D5E-4372-A684-D7923031A930}" srcId="{A64C2B61-EEBB-4B3C-9976-93B80A2307F8}" destId="{6B036628-9C58-440B-B661-999914C05E21}" srcOrd="2" destOrd="0" parTransId="{15DE994C-E9E4-4009-8BC8-CD000420D30B}" sibTransId="{BD775361-7204-4E8A-AA2C-D40FD0224A71}"/>
    <dgm:cxn modelId="{E63AC795-75C0-4367-8EBB-B3C8CD6615B7}" type="presOf" srcId="{A1920D4E-34DF-45D5-9E58-5D816DA1FA2C}" destId="{30A1736A-6D2A-4C09-BDDA-D08F75FBD65E}" srcOrd="0" destOrd="0" presId="urn:microsoft.com/office/officeart/2018/5/layout/IconCircleLabelList"/>
    <dgm:cxn modelId="{FC8F3BB1-51CE-4F52-AB17-1FB86113CDCE}" type="presOf" srcId="{6B036628-9C58-440B-B661-999914C05E21}" destId="{66B0C3D6-EED9-4338-BA86-F34F9481DC71}" srcOrd="0" destOrd="0" presId="urn:microsoft.com/office/officeart/2018/5/layout/IconCircleLabelList"/>
    <dgm:cxn modelId="{802D0EC9-E692-4D39-8517-E1884604ADFA}" type="presOf" srcId="{A64C2B61-EEBB-4B3C-9976-93B80A2307F8}" destId="{7F3968B9-1CB9-42EF-B76A-B306FDFCEFFB}" srcOrd="0" destOrd="0" presId="urn:microsoft.com/office/officeart/2018/5/layout/IconCircleLabelList"/>
    <dgm:cxn modelId="{CAC6D4E9-E0BA-4300-8336-56DB698E1878}" type="presOf" srcId="{EFB3A3B2-423D-484E-A149-379E9FC18548}" destId="{45F141F5-6920-4C44-AA69-BCB98DA9A01C}" srcOrd="0" destOrd="0" presId="urn:microsoft.com/office/officeart/2018/5/layout/IconCircleLabelList"/>
    <dgm:cxn modelId="{25E016F4-1599-45B8-B071-9AFB47D00BE4}" type="presOf" srcId="{2E7446D6-C7BA-44E1-9708-0D01C3E92BD9}" destId="{B43480CE-2919-417F-BF34-997133081734}" srcOrd="0" destOrd="0" presId="urn:microsoft.com/office/officeart/2018/5/layout/IconCircleLabelList"/>
    <dgm:cxn modelId="{1542ED0F-E08B-4340-B33E-3D569A9251C9}" type="presParOf" srcId="{7F3968B9-1CB9-42EF-B76A-B306FDFCEFFB}" destId="{82C7CACA-B158-491D-95C9-84DA02C093DA}" srcOrd="0" destOrd="0" presId="urn:microsoft.com/office/officeart/2018/5/layout/IconCircleLabelList"/>
    <dgm:cxn modelId="{46C8569C-0DE5-4A36-A84D-AF6BBAEA1EE0}" type="presParOf" srcId="{82C7CACA-B158-491D-95C9-84DA02C093DA}" destId="{D02106EA-0AC8-4B5D-983D-94EF5E112A7B}" srcOrd="0" destOrd="0" presId="urn:microsoft.com/office/officeart/2018/5/layout/IconCircleLabelList"/>
    <dgm:cxn modelId="{E5180083-BA4B-4C87-98BF-7BBF9098457B}" type="presParOf" srcId="{82C7CACA-B158-491D-95C9-84DA02C093DA}" destId="{A5434BC8-4479-430A-913B-4E937F5EC312}" srcOrd="1" destOrd="0" presId="urn:microsoft.com/office/officeart/2018/5/layout/IconCircleLabelList"/>
    <dgm:cxn modelId="{3BEE9496-0AE1-4E34-8272-369C46C6D199}" type="presParOf" srcId="{82C7CACA-B158-491D-95C9-84DA02C093DA}" destId="{5AA937DF-DFD3-4E5A-8074-53AA62511278}" srcOrd="2" destOrd="0" presId="urn:microsoft.com/office/officeart/2018/5/layout/IconCircleLabelList"/>
    <dgm:cxn modelId="{84975369-8B8E-497D-B81C-728B251BBA40}" type="presParOf" srcId="{82C7CACA-B158-491D-95C9-84DA02C093DA}" destId="{B43480CE-2919-417F-BF34-997133081734}" srcOrd="3" destOrd="0" presId="urn:microsoft.com/office/officeart/2018/5/layout/IconCircleLabelList"/>
    <dgm:cxn modelId="{794EDED1-A67E-4150-A2B7-0B3CC256D974}" type="presParOf" srcId="{7F3968B9-1CB9-42EF-B76A-B306FDFCEFFB}" destId="{42F487DC-7AB1-4848-A124-98F8DA23F4AC}" srcOrd="1" destOrd="0" presId="urn:microsoft.com/office/officeart/2018/5/layout/IconCircleLabelList"/>
    <dgm:cxn modelId="{84ABDCC5-3699-4209-AD8B-9BA9D99A18A3}" type="presParOf" srcId="{7F3968B9-1CB9-42EF-B76A-B306FDFCEFFB}" destId="{F28A0B9E-C174-44BC-A7E7-42FFFFE2D2A3}" srcOrd="2" destOrd="0" presId="urn:microsoft.com/office/officeart/2018/5/layout/IconCircleLabelList"/>
    <dgm:cxn modelId="{AD98A9FC-6E30-49D3-A6CC-F231104CFB23}" type="presParOf" srcId="{F28A0B9E-C174-44BC-A7E7-42FFFFE2D2A3}" destId="{0EB1D68C-8980-4D51-BDDB-EFCB6DF1E2DB}" srcOrd="0" destOrd="0" presId="urn:microsoft.com/office/officeart/2018/5/layout/IconCircleLabelList"/>
    <dgm:cxn modelId="{49866C6E-6997-4E0B-AFE5-4EBA9A42C88F}" type="presParOf" srcId="{F28A0B9E-C174-44BC-A7E7-42FFFFE2D2A3}" destId="{4F46459C-42B4-4207-A1E6-E13FF0339821}" srcOrd="1" destOrd="0" presId="urn:microsoft.com/office/officeart/2018/5/layout/IconCircleLabelList"/>
    <dgm:cxn modelId="{9594D4D5-55CB-44B9-B43F-18BA03EE6636}" type="presParOf" srcId="{F28A0B9E-C174-44BC-A7E7-42FFFFE2D2A3}" destId="{81F57A1C-6AA9-4492-81AD-9AFBE26C00E9}" srcOrd="2" destOrd="0" presId="urn:microsoft.com/office/officeart/2018/5/layout/IconCircleLabelList"/>
    <dgm:cxn modelId="{697512E0-95DE-4B41-8B51-EC42F815F459}" type="presParOf" srcId="{F28A0B9E-C174-44BC-A7E7-42FFFFE2D2A3}" destId="{45F141F5-6920-4C44-AA69-BCB98DA9A01C}" srcOrd="3" destOrd="0" presId="urn:microsoft.com/office/officeart/2018/5/layout/IconCircleLabelList"/>
    <dgm:cxn modelId="{35A713C5-DC1B-490A-A2A2-2809B10F8BDD}" type="presParOf" srcId="{7F3968B9-1CB9-42EF-B76A-B306FDFCEFFB}" destId="{87C89F07-2FD5-4F54-A6B3-7C8862D0DBE9}" srcOrd="3" destOrd="0" presId="urn:microsoft.com/office/officeart/2018/5/layout/IconCircleLabelList"/>
    <dgm:cxn modelId="{E76CDA9C-4742-4BA5-BD05-8D43CD100C30}" type="presParOf" srcId="{7F3968B9-1CB9-42EF-B76A-B306FDFCEFFB}" destId="{58889D02-BCD3-456A-B44E-14A16C78282F}" srcOrd="4" destOrd="0" presId="urn:microsoft.com/office/officeart/2018/5/layout/IconCircleLabelList"/>
    <dgm:cxn modelId="{4C7E0CA8-FE5A-4301-8B44-B04254A0322B}" type="presParOf" srcId="{58889D02-BCD3-456A-B44E-14A16C78282F}" destId="{3393C2F6-81E3-450B-B932-EE5CE1CBB445}" srcOrd="0" destOrd="0" presId="urn:microsoft.com/office/officeart/2018/5/layout/IconCircleLabelList"/>
    <dgm:cxn modelId="{3E4E496E-ADFD-43DF-957E-8D5035F9AE1F}" type="presParOf" srcId="{58889D02-BCD3-456A-B44E-14A16C78282F}" destId="{EC0C9BAE-8634-4DEE-AD0A-E80E62775AD7}" srcOrd="1" destOrd="0" presId="urn:microsoft.com/office/officeart/2018/5/layout/IconCircleLabelList"/>
    <dgm:cxn modelId="{EE3EF480-A52B-4FA8-925B-691150286AB3}" type="presParOf" srcId="{58889D02-BCD3-456A-B44E-14A16C78282F}" destId="{2E4DCE00-B91F-4237-905E-33818927040E}" srcOrd="2" destOrd="0" presId="urn:microsoft.com/office/officeart/2018/5/layout/IconCircleLabelList"/>
    <dgm:cxn modelId="{BA9D67ED-DB00-4970-9A28-EF63EA13B682}" type="presParOf" srcId="{58889D02-BCD3-456A-B44E-14A16C78282F}" destId="{66B0C3D6-EED9-4338-BA86-F34F9481DC71}" srcOrd="3" destOrd="0" presId="urn:microsoft.com/office/officeart/2018/5/layout/IconCircleLabelList"/>
    <dgm:cxn modelId="{B3071A3E-F697-406B-A0F4-60A44180EB95}" type="presParOf" srcId="{7F3968B9-1CB9-42EF-B76A-B306FDFCEFFB}" destId="{E5F73650-00A4-4239-AE29-F71F3989E0B7}" srcOrd="5" destOrd="0" presId="urn:microsoft.com/office/officeart/2018/5/layout/IconCircleLabelList"/>
    <dgm:cxn modelId="{8CB0BBF2-5C55-4D1A-AEA4-880442152BFE}" type="presParOf" srcId="{7F3968B9-1CB9-42EF-B76A-B306FDFCEFFB}" destId="{BFBB3DBC-F93D-45B9-AD57-371C61D8160F}" srcOrd="6" destOrd="0" presId="urn:microsoft.com/office/officeart/2018/5/layout/IconCircleLabelList"/>
    <dgm:cxn modelId="{B64F2990-1293-4D24-B840-F645E14A0BC2}" type="presParOf" srcId="{BFBB3DBC-F93D-45B9-AD57-371C61D8160F}" destId="{305DA574-F90B-41DE-8FB7-F89349DB75DD}" srcOrd="0" destOrd="0" presId="urn:microsoft.com/office/officeart/2018/5/layout/IconCircleLabelList"/>
    <dgm:cxn modelId="{976CAD89-9CF1-4035-A750-8C379F7D5B99}" type="presParOf" srcId="{BFBB3DBC-F93D-45B9-AD57-371C61D8160F}" destId="{88622E50-53E1-4275-B7F2-88D2F91EC132}" srcOrd="1" destOrd="0" presId="urn:microsoft.com/office/officeart/2018/5/layout/IconCircleLabelList"/>
    <dgm:cxn modelId="{9FD36354-F395-4497-AC16-9EE1859A9B2B}" type="presParOf" srcId="{BFBB3DBC-F93D-45B9-AD57-371C61D8160F}" destId="{07BA9AA5-525C-4177-9AF4-07FFD7453527}" srcOrd="2" destOrd="0" presId="urn:microsoft.com/office/officeart/2018/5/layout/IconCircleLabelList"/>
    <dgm:cxn modelId="{40051BD4-8893-4972-8597-7CAD00CA1719}" type="presParOf" srcId="{BFBB3DBC-F93D-45B9-AD57-371C61D8160F}" destId="{30A1736A-6D2A-4C09-BDDA-D08F75FBD65E}" srcOrd="3" destOrd="0" presId="urn:microsoft.com/office/officeart/2018/5/layout/IconCircleLabel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E5430044-564E-457D-975A-AFE0A6AF9003}" type="doc">
      <dgm:prSet loTypeId="urn:microsoft.com/office/officeart/2016/7/layout/LinearArrowProcessNumbered" loCatId="process" qsTypeId="urn:microsoft.com/office/officeart/2005/8/quickstyle/simple4" qsCatId="simple" csTypeId="urn:microsoft.com/office/officeart/2005/8/colors/accent3_2" csCatId="accent3" phldr="1"/>
      <dgm:spPr/>
      <dgm:t>
        <a:bodyPr/>
        <a:lstStyle/>
        <a:p>
          <a:endParaRPr lang="en-US"/>
        </a:p>
      </dgm:t>
    </dgm:pt>
    <dgm:pt modelId="{34725228-3AB7-49A0-86F1-FF3E10C8D61E}">
      <dgm:prSet custT="1"/>
      <dgm:spPr/>
      <dgm:t>
        <a:bodyPr/>
        <a:lstStyle/>
        <a:p>
          <a:r>
            <a:rPr lang="en-US" sz="2000" baseline="0"/>
            <a:t>Avoid unrestricted access</a:t>
          </a:r>
          <a:endParaRPr lang="en-US" sz="2000"/>
        </a:p>
      </dgm:t>
    </dgm:pt>
    <dgm:pt modelId="{0B4DBB55-6533-409D-B9D8-626AA362CBE7}" type="parTrans" cxnId="{1734ED06-B46B-4114-8EC8-176D35D57961}">
      <dgm:prSet/>
      <dgm:spPr/>
      <dgm:t>
        <a:bodyPr/>
        <a:lstStyle/>
        <a:p>
          <a:endParaRPr lang="en-US"/>
        </a:p>
      </dgm:t>
    </dgm:pt>
    <dgm:pt modelId="{D6F4D23E-022C-4496-B4CF-1B9BE4C20848}" type="sibTrans" cxnId="{1734ED06-B46B-4114-8EC8-176D35D57961}">
      <dgm:prSet phldrT="1" phldr="0"/>
      <dgm:spPr/>
      <dgm:t>
        <a:bodyPr/>
        <a:lstStyle/>
        <a:p>
          <a:r>
            <a:rPr lang="en-US"/>
            <a:t>1</a:t>
          </a:r>
        </a:p>
      </dgm:t>
    </dgm:pt>
    <dgm:pt modelId="{8DEBF728-6003-4171-B3DF-13F16DE6E10C}">
      <dgm:prSet custT="1"/>
      <dgm:spPr/>
      <dgm:t>
        <a:bodyPr/>
        <a:lstStyle/>
        <a:p>
          <a:r>
            <a:rPr lang="en-US" sz="2000" baseline="0"/>
            <a:t>Have a subset of products</a:t>
          </a:r>
          <a:endParaRPr lang="en-US" sz="2000"/>
        </a:p>
      </dgm:t>
    </dgm:pt>
    <dgm:pt modelId="{85B64EEC-C82D-419A-B5C3-E1A74A9875D0}" type="parTrans" cxnId="{DB409F6F-59F7-4E3B-B7FB-7420C2EDC427}">
      <dgm:prSet/>
      <dgm:spPr/>
      <dgm:t>
        <a:bodyPr/>
        <a:lstStyle/>
        <a:p>
          <a:endParaRPr lang="en-US"/>
        </a:p>
      </dgm:t>
    </dgm:pt>
    <dgm:pt modelId="{BF8B2E9C-4A2C-4C35-BBEC-6ADACC018A75}" type="sibTrans" cxnId="{DB409F6F-59F7-4E3B-B7FB-7420C2EDC427}">
      <dgm:prSet phldrT="2" phldr="0"/>
      <dgm:spPr/>
      <dgm:t>
        <a:bodyPr/>
        <a:lstStyle/>
        <a:p>
          <a:r>
            <a:rPr lang="en-US"/>
            <a:t>2</a:t>
          </a:r>
        </a:p>
      </dgm:t>
    </dgm:pt>
    <dgm:pt modelId="{55C7B347-A037-4837-8A66-1B205641D968}">
      <dgm:prSet custT="1"/>
      <dgm:spPr/>
      <dgm:t>
        <a:bodyPr/>
        <a:lstStyle/>
        <a:p>
          <a:r>
            <a:rPr lang="en-US" sz="2000" baseline="0"/>
            <a:t>Tailor the marketplace for organizational needs</a:t>
          </a:r>
          <a:endParaRPr lang="en-US" sz="2000"/>
        </a:p>
      </dgm:t>
    </dgm:pt>
    <dgm:pt modelId="{6C0CE35D-F7C8-4A82-A39F-787B9EFAAD23}" type="parTrans" cxnId="{D2A5C02A-FA36-484B-A96B-A133B2457F8B}">
      <dgm:prSet/>
      <dgm:spPr/>
      <dgm:t>
        <a:bodyPr/>
        <a:lstStyle/>
        <a:p>
          <a:endParaRPr lang="en-US"/>
        </a:p>
      </dgm:t>
    </dgm:pt>
    <dgm:pt modelId="{56922A55-9944-42E4-A677-BC52AFD5094B}" type="sibTrans" cxnId="{D2A5C02A-FA36-484B-A96B-A133B2457F8B}">
      <dgm:prSet phldrT="3" phldr="0"/>
      <dgm:spPr/>
      <dgm:t>
        <a:bodyPr/>
        <a:lstStyle/>
        <a:p>
          <a:r>
            <a:rPr lang="en-US"/>
            <a:t>3</a:t>
          </a:r>
        </a:p>
      </dgm:t>
    </dgm:pt>
    <dgm:pt modelId="{322DF19F-A1F6-4781-9F7A-E9F42A0A145B}">
      <dgm:prSet custT="1"/>
      <dgm:spPr/>
      <dgm:t>
        <a:bodyPr/>
        <a:lstStyle/>
        <a:p>
          <a:r>
            <a:rPr lang="en-US" sz="2000" baseline="0" dirty="0"/>
            <a:t>Create specific offer collections at the subscription level</a:t>
          </a:r>
          <a:endParaRPr lang="en-US" sz="2000" dirty="0"/>
        </a:p>
      </dgm:t>
    </dgm:pt>
    <dgm:pt modelId="{F7F94060-B7CB-4DC1-B0FD-9213EFC45863}" type="parTrans" cxnId="{5FF1892D-6DB1-49AA-B71B-247BABCAAC2D}">
      <dgm:prSet/>
      <dgm:spPr/>
      <dgm:t>
        <a:bodyPr/>
        <a:lstStyle/>
        <a:p>
          <a:endParaRPr lang="en-US"/>
        </a:p>
      </dgm:t>
    </dgm:pt>
    <dgm:pt modelId="{244ECE5C-57CA-4674-B1CF-A13D0821A693}" type="sibTrans" cxnId="{5FF1892D-6DB1-49AA-B71B-247BABCAAC2D}">
      <dgm:prSet phldrT="4" phldr="0"/>
      <dgm:spPr/>
      <dgm:t>
        <a:bodyPr/>
        <a:lstStyle/>
        <a:p>
          <a:r>
            <a:rPr lang="en-US"/>
            <a:t>4</a:t>
          </a:r>
        </a:p>
      </dgm:t>
    </dgm:pt>
    <dgm:pt modelId="{B32FBD78-7895-4F3F-895A-4E81CF55E756}" type="pres">
      <dgm:prSet presAssocID="{E5430044-564E-457D-975A-AFE0A6AF9003}" presName="linearFlow" presStyleCnt="0">
        <dgm:presLayoutVars>
          <dgm:dir/>
          <dgm:animLvl val="lvl"/>
          <dgm:resizeHandles val="exact"/>
        </dgm:presLayoutVars>
      </dgm:prSet>
      <dgm:spPr/>
    </dgm:pt>
    <dgm:pt modelId="{85883C6A-67E1-4E66-99FC-B47CDEC8B8DF}" type="pres">
      <dgm:prSet presAssocID="{34725228-3AB7-49A0-86F1-FF3E10C8D61E}" presName="compositeNode" presStyleCnt="0"/>
      <dgm:spPr/>
    </dgm:pt>
    <dgm:pt modelId="{B83B6E46-7DCB-4389-B444-F3355CC02233}" type="pres">
      <dgm:prSet presAssocID="{34725228-3AB7-49A0-86F1-FF3E10C8D61E}" presName="parTx" presStyleLbl="node1" presStyleIdx="0" presStyleCnt="0">
        <dgm:presLayoutVars>
          <dgm:chMax val="0"/>
          <dgm:chPref val="0"/>
          <dgm:bulletEnabled val="1"/>
        </dgm:presLayoutVars>
      </dgm:prSet>
      <dgm:spPr/>
    </dgm:pt>
    <dgm:pt modelId="{2C551C1C-B97E-4387-81E1-FBAAB9FF94BD}" type="pres">
      <dgm:prSet presAssocID="{34725228-3AB7-49A0-86F1-FF3E10C8D61E}" presName="parSh" presStyleCnt="0"/>
      <dgm:spPr/>
    </dgm:pt>
    <dgm:pt modelId="{55096309-307D-419A-9FDE-45C362E45B26}" type="pres">
      <dgm:prSet presAssocID="{34725228-3AB7-49A0-86F1-FF3E10C8D61E}" presName="lineNode" presStyleLbl="alignAccFollowNode1" presStyleIdx="0" presStyleCnt="12"/>
      <dgm:spPr/>
    </dgm:pt>
    <dgm:pt modelId="{88C87A3B-BA36-46F8-9130-B0EDBA391AA1}" type="pres">
      <dgm:prSet presAssocID="{34725228-3AB7-49A0-86F1-FF3E10C8D61E}" presName="lineArrowNode" presStyleLbl="alignAccFollowNode1" presStyleIdx="1" presStyleCnt="12"/>
      <dgm:spPr/>
    </dgm:pt>
    <dgm:pt modelId="{AF122252-A20A-4D52-AB98-EB6AE112FCD6}" type="pres">
      <dgm:prSet presAssocID="{D6F4D23E-022C-4496-B4CF-1B9BE4C20848}" presName="sibTransNodeCircle" presStyleLbl="alignNode1" presStyleIdx="0" presStyleCnt="4">
        <dgm:presLayoutVars>
          <dgm:chMax val="0"/>
          <dgm:bulletEnabled/>
        </dgm:presLayoutVars>
      </dgm:prSet>
      <dgm:spPr/>
    </dgm:pt>
    <dgm:pt modelId="{11F3B753-7C59-4A01-A481-07CB6D4D5C26}" type="pres">
      <dgm:prSet presAssocID="{D6F4D23E-022C-4496-B4CF-1B9BE4C20848}" presName="spacerBetweenCircleAndCallout" presStyleCnt="0">
        <dgm:presLayoutVars/>
      </dgm:prSet>
      <dgm:spPr/>
    </dgm:pt>
    <dgm:pt modelId="{93BCEE63-2FF6-480C-8FCD-64418A85F710}" type="pres">
      <dgm:prSet presAssocID="{34725228-3AB7-49A0-86F1-FF3E10C8D61E}" presName="nodeText" presStyleLbl="alignAccFollowNode1" presStyleIdx="2" presStyleCnt="12">
        <dgm:presLayoutVars>
          <dgm:bulletEnabled val="1"/>
        </dgm:presLayoutVars>
      </dgm:prSet>
      <dgm:spPr/>
    </dgm:pt>
    <dgm:pt modelId="{EA0D787F-EC43-4AD7-A98D-6D7584B62710}" type="pres">
      <dgm:prSet presAssocID="{D6F4D23E-022C-4496-B4CF-1B9BE4C20848}" presName="sibTransComposite" presStyleCnt="0"/>
      <dgm:spPr/>
    </dgm:pt>
    <dgm:pt modelId="{270C2ABD-02FE-41B3-B9C5-61517FEA520F}" type="pres">
      <dgm:prSet presAssocID="{8DEBF728-6003-4171-B3DF-13F16DE6E10C}" presName="compositeNode" presStyleCnt="0"/>
      <dgm:spPr/>
    </dgm:pt>
    <dgm:pt modelId="{9B1A90AB-2D4E-43B6-AA5F-9AA7632E7666}" type="pres">
      <dgm:prSet presAssocID="{8DEBF728-6003-4171-B3DF-13F16DE6E10C}" presName="parTx" presStyleLbl="node1" presStyleIdx="0" presStyleCnt="0">
        <dgm:presLayoutVars>
          <dgm:chMax val="0"/>
          <dgm:chPref val="0"/>
          <dgm:bulletEnabled val="1"/>
        </dgm:presLayoutVars>
      </dgm:prSet>
      <dgm:spPr/>
    </dgm:pt>
    <dgm:pt modelId="{6CE66EC8-2AFC-4DA1-A023-0BDB0C64FB1A}" type="pres">
      <dgm:prSet presAssocID="{8DEBF728-6003-4171-B3DF-13F16DE6E10C}" presName="parSh" presStyleCnt="0"/>
      <dgm:spPr/>
    </dgm:pt>
    <dgm:pt modelId="{532342A5-C2D6-45AE-A80B-2035FDD6726A}" type="pres">
      <dgm:prSet presAssocID="{8DEBF728-6003-4171-B3DF-13F16DE6E10C}" presName="lineNode" presStyleLbl="alignAccFollowNode1" presStyleIdx="3" presStyleCnt="12"/>
      <dgm:spPr/>
    </dgm:pt>
    <dgm:pt modelId="{4310F074-381D-4F64-A4BD-5CF36F205629}" type="pres">
      <dgm:prSet presAssocID="{8DEBF728-6003-4171-B3DF-13F16DE6E10C}" presName="lineArrowNode" presStyleLbl="alignAccFollowNode1" presStyleIdx="4" presStyleCnt="12"/>
      <dgm:spPr/>
    </dgm:pt>
    <dgm:pt modelId="{67FE8937-0939-42F9-8CC9-217D94E69F02}" type="pres">
      <dgm:prSet presAssocID="{BF8B2E9C-4A2C-4C35-BBEC-6ADACC018A75}" presName="sibTransNodeCircle" presStyleLbl="alignNode1" presStyleIdx="1" presStyleCnt="4">
        <dgm:presLayoutVars>
          <dgm:chMax val="0"/>
          <dgm:bulletEnabled/>
        </dgm:presLayoutVars>
      </dgm:prSet>
      <dgm:spPr/>
    </dgm:pt>
    <dgm:pt modelId="{81233702-101A-4184-8D9C-EDCBA9EE3D32}" type="pres">
      <dgm:prSet presAssocID="{BF8B2E9C-4A2C-4C35-BBEC-6ADACC018A75}" presName="spacerBetweenCircleAndCallout" presStyleCnt="0">
        <dgm:presLayoutVars/>
      </dgm:prSet>
      <dgm:spPr/>
    </dgm:pt>
    <dgm:pt modelId="{2F6F9E24-AB1B-43F6-B7EE-6D67E8D36A80}" type="pres">
      <dgm:prSet presAssocID="{8DEBF728-6003-4171-B3DF-13F16DE6E10C}" presName="nodeText" presStyleLbl="alignAccFollowNode1" presStyleIdx="5" presStyleCnt="12">
        <dgm:presLayoutVars>
          <dgm:bulletEnabled val="1"/>
        </dgm:presLayoutVars>
      </dgm:prSet>
      <dgm:spPr/>
    </dgm:pt>
    <dgm:pt modelId="{553AA14F-D95A-46DB-AD85-888C15FC6FF2}" type="pres">
      <dgm:prSet presAssocID="{BF8B2E9C-4A2C-4C35-BBEC-6ADACC018A75}" presName="sibTransComposite" presStyleCnt="0"/>
      <dgm:spPr/>
    </dgm:pt>
    <dgm:pt modelId="{7D95A875-632D-49F2-9D9E-D07BC827FB9E}" type="pres">
      <dgm:prSet presAssocID="{55C7B347-A037-4837-8A66-1B205641D968}" presName="compositeNode" presStyleCnt="0"/>
      <dgm:spPr/>
    </dgm:pt>
    <dgm:pt modelId="{27F22802-2612-42E7-9BB1-E5A47FFE7290}" type="pres">
      <dgm:prSet presAssocID="{55C7B347-A037-4837-8A66-1B205641D968}" presName="parTx" presStyleLbl="node1" presStyleIdx="0" presStyleCnt="0">
        <dgm:presLayoutVars>
          <dgm:chMax val="0"/>
          <dgm:chPref val="0"/>
          <dgm:bulletEnabled val="1"/>
        </dgm:presLayoutVars>
      </dgm:prSet>
      <dgm:spPr/>
    </dgm:pt>
    <dgm:pt modelId="{8EC3CA22-35D8-4885-89CE-45E2A3632485}" type="pres">
      <dgm:prSet presAssocID="{55C7B347-A037-4837-8A66-1B205641D968}" presName="parSh" presStyleCnt="0"/>
      <dgm:spPr/>
    </dgm:pt>
    <dgm:pt modelId="{0C18A599-53E6-41A4-8CF6-18D261CE5671}" type="pres">
      <dgm:prSet presAssocID="{55C7B347-A037-4837-8A66-1B205641D968}" presName="lineNode" presStyleLbl="alignAccFollowNode1" presStyleIdx="6" presStyleCnt="12"/>
      <dgm:spPr/>
    </dgm:pt>
    <dgm:pt modelId="{EBAA590E-552A-4C24-960E-CC35C613CE64}" type="pres">
      <dgm:prSet presAssocID="{55C7B347-A037-4837-8A66-1B205641D968}" presName="lineArrowNode" presStyleLbl="alignAccFollowNode1" presStyleIdx="7" presStyleCnt="12"/>
      <dgm:spPr/>
    </dgm:pt>
    <dgm:pt modelId="{84DC29AA-23D2-4F52-8987-3C35D1678CD0}" type="pres">
      <dgm:prSet presAssocID="{56922A55-9944-42E4-A677-BC52AFD5094B}" presName="sibTransNodeCircle" presStyleLbl="alignNode1" presStyleIdx="2" presStyleCnt="4">
        <dgm:presLayoutVars>
          <dgm:chMax val="0"/>
          <dgm:bulletEnabled/>
        </dgm:presLayoutVars>
      </dgm:prSet>
      <dgm:spPr/>
    </dgm:pt>
    <dgm:pt modelId="{7BCB0B00-BB35-43F7-ABEF-ADB6342D4401}" type="pres">
      <dgm:prSet presAssocID="{56922A55-9944-42E4-A677-BC52AFD5094B}" presName="spacerBetweenCircleAndCallout" presStyleCnt="0">
        <dgm:presLayoutVars/>
      </dgm:prSet>
      <dgm:spPr/>
    </dgm:pt>
    <dgm:pt modelId="{053BAE7E-A75F-4C6A-9ED3-9FD03710B866}" type="pres">
      <dgm:prSet presAssocID="{55C7B347-A037-4837-8A66-1B205641D968}" presName="nodeText" presStyleLbl="alignAccFollowNode1" presStyleIdx="8" presStyleCnt="12">
        <dgm:presLayoutVars>
          <dgm:bulletEnabled val="1"/>
        </dgm:presLayoutVars>
      </dgm:prSet>
      <dgm:spPr/>
    </dgm:pt>
    <dgm:pt modelId="{61410C6B-1D1E-43A3-99F6-9937E82A36B9}" type="pres">
      <dgm:prSet presAssocID="{56922A55-9944-42E4-A677-BC52AFD5094B}" presName="sibTransComposite" presStyleCnt="0"/>
      <dgm:spPr/>
    </dgm:pt>
    <dgm:pt modelId="{F5D6D07E-165A-4563-87E0-FBD0C7150737}" type="pres">
      <dgm:prSet presAssocID="{322DF19F-A1F6-4781-9F7A-E9F42A0A145B}" presName="compositeNode" presStyleCnt="0"/>
      <dgm:spPr/>
    </dgm:pt>
    <dgm:pt modelId="{93F924AC-657D-48C9-A3BD-5F392B84A0D2}" type="pres">
      <dgm:prSet presAssocID="{322DF19F-A1F6-4781-9F7A-E9F42A0A145B}" presName="parTx" presStyleLbl="node1" presStyleIdx="0" presStyleCnt="0">
        <dgm:presLayoutVars>
          <dgm:chMax val="0"/>
          <dgm:chPref val="0"/>
          <dgm:bulletEnabled val="1"/>
        </dgm:presLayoutVars>
      </dgm:prSet>
      <dgm:spPr/>
    </dgm:pt>
    <dgm:pt modelId="{D1287D3D-0186-41AC-9BFB-E3014C6F2A0C}" type="pres">
      <dgm:prSet presAssocID="{322DF19F-A1F6-4781-9F7A-E9F42A0A145B}" presName="parSh" presStyleCnt="0"/>
      <dgm:spPr/>
    </dgm:pt>
    <dgm:pt modelId="{541B1AC1-E0D8-4DA3-9693-AF574AD410C7}" type="pres">
      <dgm:prSet presAssocID="{322DF19F-A1F6-4781-9F7A-E9F42A0A145B}" presName="lineNode" presStyleLbl="alignAccFollowNode1" presStyleIdx="9" presStyleCnt="12"/>
      <dgm:spPr/>
    </dgm:pt>
    <dgm:pt modelId="{8F12B39A-156E-4142-89BA-5363EFDDDE7A}" type="pres">
      <dgm:prSet presAssocID="{322DF19F-A1F6-4781-9F7A-E9F42A0A145B}" presName="lineArrowNode" presStyleLbl="alignAccFollowNode1" presStyleIdx="10" presStyleCnt="12"/>
      <dgm:spPr/>
    </dgm:pt>
    <dgm:pt modelId="{F59BFEEC-CBFC-42E7-AC37-54ED890E9A63}" type="pres">
      <dgm:prSet presAssocID="{244ECE5C-57CA-4674-B1CF-A13D0821A693}" presName="sibTransNodeCircle" presStyleLbl="alignNode1" presStyleIdx="3" presStyleCnt="4">
        <dgm:presLayoutVars>
          <dgm:chMax val="0"/>
          <dgm:bulletEnabled/>
        </dgm:presLayoutVars>
      </dgm:prSet>
      <dgm:spPr/>
    </dgm:pt>
    <dgm:pt modelId="{8014DA9C-25BF-4772-B4E8-9D8090C56767}" type="pres">
      <dgm:prSet presAssocID="{244ECE5C-57CA-4674-B1CF-A13D0821A693}" presName="spacerBetweenCircleAndCallout" presStyleCnt="0">
        <dgm:presLayoutVars/>
      </dgm:prSet>
      <dgm:spPr/>
    </dgm:pt>
    <dgm:pt modelId="{193D835A-B190-4097-BB37-EBD8EFCA5B58}" type="pres">
      <dgm:prSet presAssocID="{322DF19F-A1F6-4781-9F7A-E9F42A0A145B}" presName="nodeText" presStyleLbl="alignAccFollowNode1" presStyleIdx="11" presStyleCnt="12">
        <dgm:presLayoutVars>
          <dgm:bulletEnabled val="1"/>
        </dgm:presLayoutVars>
      </dgm:prSet>
      <dgm:spPr/>
    </dgm:pt>
  </dgm:ptLst>
  <dgm:cxnLst>
    <dgm:cxn modelId="{1734ED06-B46B-4114-8EC8-176D35D57961}" srcId="{E5430044-564E-457D-975A-AFE0A6AF9003}" destId="{34725228-3AB7-49A0-86F1-FF3E10C8D61E}" srcOrd="0" destOrd="0" parTransId="{0B4DBB55-6533-409D-B9D8-626AA362CBE7}" sibTransId="{D6F4D23E-022C-4496-B4CF-1B9BE4C20848}"/>
    <dgm:cxn modelId="{7BF87B21-AD3C-46F2-883A-AAD6AB35E146}" type="presOf" srcId="{D6F4D23E-022C-4496-B4CF-1B9BE4C20848}" destId="{AF122252-A20A-4D52-AB98-EB6AE112FCD6}" srcOrd="0" destOrd="0" presId="urn:microsoft.com/office/officeart/2016/7/layout/LinearArrowProcessNumbered"/>
    <dgm:cxn modelId="{D2A5C02A-FA36-484B-A96B-A133B2457F8B}" srcId="{E5430044-564E-457D-975A-AFE0A6AF9003}" destId="{55C7B347-A037-4837-8A66-1B205641D968}" srcOrd="2" destOrd="0" parTransId="{6C0CE35D-F7C8-4A82-A39F-787B9EFAAD23}" sibTransId="{56922A55-9944-42E4-A677-BC52AFD5094B}"/>
    <dgm:cxn modelId="{5FF1892D-6DB1-49AA-B71B-247BABCAAC2D}" srcId="{E5430044-564E-457D-975A-AFE0A6AF9003}" destId="{322DF19F-A1F6-4781-9F7A-E9F42A0A145B}" srcOrd="3" destOrd="0" parTransId="{F7F94060-B7CB-4DC1-B0FD-9213EFC45863}" sibTransId="{244ECE5C-57CA-4674-B1CF-A13D0821A693}"/>
    <dgm:cxn modelId="{A13FBF64-61DF-490D-A1B4-DF5C47ABAB1D}" type="presOf" srcId="{244ECE5C-57CA-4674-B1CF-A13D0821A693}" destId="{F59BFEEC-CBFC-42E7-AC37-54ED890E9A63}" srcOrd="0" destOrd="0" presId="urn:microsoft.com/office/officeart/2016/7/layout/LinearArrowProcessNumbered"/>
    <dgm:cxn modelId="{DB409F6F-59F7-4E3B-B7FB-7420C2EDC427}" srcId="{E5430044-564E-457D-975A-AFE0A6AF9003}" destId="{8DEBF728-6003-4171-B3DF-13F16DE6E10C}" srcOrd="1" destOrd="0" parTransId="{85B64EEC-C82D-419A-B5C3-E1A74A9875D0}" sibTransId="{BF8B2E9C-4A2C-4C35-BBEC-6ADACC018A75}"/>
    <dgm:cxn modelId="{7B7F3D7F-4982-45D2-84E6-AFA31DB2D7DE}" type="presOf" srcId="{56922A55-9944-42E4-A677-BC52AFD5094B}" destId="{84DC29AA-23D2-4F52-8987-3C35D1678CD0}" srcOrd="0" destOrd="0" presId="urn:microsoft.com/office/officeart/2016/7/layout/LinearArrowProcessNumbered"/>
    <dgm:cxn modelId="{2B5EAE80-BE8D-4A4C-BB3F-855FFDDFCF9D}" type="presOf" srcId="{E5430044-564E-457D-975A-AFE0A6AF9003}" destId="{B32FBD78-7895-4F3F-895A-4E81CF55E756}" srcOrd="0" destOrd="0" presId="urn:microsoft.com/office/officeart/2016/7/layout/LinearArrowProcessNumbered"/>
    <dgm:cxn modelId="{078E128E-7527-41A1-960F-8D3BAF1C8BF0}" type="presOf" srcId="{8DEBF728-6003-4171-B3DF-13F16DE6E10C}" destId="{2F6F9E24-AB1B-43F6-B7EE-6D67E8D36A80}" srcOrd="0" destOrd="0" presId="urn:microsoft.com/office/officeart/2016/7/layout/LinearArrowProcessNumbered"/>
    <dgm:cxn modelId="{FF0A209D-DDE7-4854-88FA-8DFCE49AF0EF}" type="presOf" srcId="{322DF19F-A1F6-4781-9F7A-E9F42A0A145B}" destId="{193D835A-B190-4097-BB37-EBD8EFCA5B58}" srcOrd="0" destOrd="0" presId="urn:microsoft.com/office/officeart/2016/7/layout/LinearArrowProcessNumbered"/>
    <dgm:cxn modelId="{D880589D-FCC2-4063-87B9-D20032707A00}" type="presOf" srcId="{55C7B347-A037-4837-8A66-1B205641D968}" destId="{053BAE7E-A75F-4C6A-9ED3-9FD03710B866}" srcOrd="0" destOrd="0" presId="urn:microsoft.com/office/officeart/2016/7/layout/LinearArrowProcessNumbered"/>
    <dgm:cxn modelId="{79E93FE1-F56A-42B8-9413-0BB74D504E31}" type="presOf" srcId="{34725228-3AB7-49A0-86F1-FF3E10C8D61E}" destId="{93BCEE63-2FF6-480C-8FCD-64418A85F710}" srcOrd="0" destOrd="0" presId="urn:microsoft.com/office/officeart/2016/7/layout/LinearArrowProcessNumbered"/>
    <dgm:cxn modelId="{B3DD4EF8-72C9-4790-98C9-18379E509B1B}" type="presOf" srcId="{BF8B2E9C-4A2C-4C35-BBEC-6ADACC018A75}" destId="{67FE8937-0939-42F9-8CC9-217D94E69F02}" srcOrd="0" destOrd="0" presId="urn:microsoft.com/office/officeart/2016/7/layout/LinearArrowProcessNumbered"/>
    <dgm:cxn modelId="{86ACF9E8-8EA7-4630-9EEE-5CECCF7AFA46}" type="presParOf" srcId="{B32FBD78-7895-4F3F-895A-4E81CF55E756}" destId="{85883C6A-67E1-4E66-99FC-B47CDEC8B8DF}" srcOrd="0" destOrd="0" presId="urn:microsoft.com/office/officeart/2016/7/layout/LinearArrowProcessNumbered"/>
    <dgm:cxn modelId="{6AA84C5A-85E4-4450-96E4-53D6EAF49EC9}" type="presParOf" srcId="{85883C6A-67E1-4E66-99FC-B47CDEC8B8DF}" destId="{B83B6E46-7DCB-4389-B444-F3355CC02233}" srcOrd="0" destOrd="0" presId="urn:microsoft.com/office/officeart/2016/7/layout/LinearArrowProcessNumbered"/>
    <dgm:cxn modelId="{5B1BF383-0E3E-41A2-B7AB-62C79651FFE1}" type="presParOf" srcId="{85883C6A-67E1-4E66-99FC-B47CDEC8B8DF}" destId="{2C551C1C-B97E-4387-81E1-FBAAB9FF94BD}" srcOrd="1" destOrd="0" presId="urn:microsoft.com/office/officeart/2016/7/layout/LinearArrowProcessNumbered"/>
    <dgm:cxn modelId="{2BB742C6-8866-4E38-A248-33F07E16D200}" type="presParOf" srcId="{2C551C1C-B97E-4387-81E1-FBAAB9FF94BD}" destId="{55096309-307D-419A-9FDE-45C362E45B26}" srcOrd="0" destOrd="0" presId="urn:microsoft.com/office/officeart/2016/7/layout/LinearArrowProcessNumbered"/>
    <dgm:cxn modelId="{FC0D0641-E4D7-47CF-AF1E-8C98D2B46C75}" type="presParOf" srcId="{2C551C1C-B97E-4387-81E1-FBAAB9FF94BD}" destId="{88C87A3B-BA36-46F8-9130-B0EDBA391AA1}" srcOrd="1" destOrd="0" presId="urn:microsoft.com/office/officeart/2016/7/layout/LinearArrowProcessNumbered"/>
    <dgm:cxn modelId="{4B3685B2-8961-4695-8589-6AB4FC0CE96B}" type="presParOf" srcId="{2C551C1C-B97E-4387-81E1-FBAAB9FF94BD}" destId="{AF122252-A20A-4D52-AB98-EB6AE112FCD6}" srcOrd="2" destOrd="0" presId="urn:microsoft.com/office/officeart/2016/7/layout/LinearArrowProcessNumbered"/>
    <dgm:cxn modelId="{1673E626-44B6-4B29-A823-8D7D828561F2}" type="presParOf" srcId="{2C551C1C-B97E-4387-81E1-FBAAB9FF94BD}" destId="{11F3B753-7C59-4A01-A481-07CB6D4D5C26}" srcOrd="3" destOrd="0" presId="urn:microsoft.com/office/officeart/2016/7/layout/LinearArrowProcessNumbered"/>
    <dgm:cxn modelId="{061D4623-BF38-4CDA-8831-55CE7388AFCF}" type="presParOf" srcId="{85883C6A-67E1-4E66-99FC-B47CDEC8B8DF}" destId="{93BCEE63-2FF6-480C-8FCD-64418A85F710}" srcOrd="2" destOrd="0" presId="urn:microsoft.com/office/officeart/2016/7/layout/LinearArrowProcessNumbered"/>
    <dgm:cxn modelId="{AE5D01A1-86ED-4BF0-8E86-A19E6399A56D}" type="presParOf" srcId="{B32FBD78-7895-4F3F-895A-4E81CF55E756}" destId="{EA0D787F-EC43-4AD7-A98D-6D7584B62710}" srcOrd="1" destOrd="0" presId="urn:microsoft.com/office/officeart/2016/7/layout/LinearArrowProcessNumbered"/>
    <dgm:cxn modelId="{56D7F97F-91ED-4321-819B-340624983CEC}" type="presParOf" srcId="{B32FBD78-7895-4F3F-895A-4E81CF55E756}" destId="{270C2ABD-02FE-41B3-B9C5-61517FEA520F}" srcOrd="2" destOrd="0" presId="urn:microsoft.com/office/officeart/2016/7/layout/LinearArrowProcessNumbered"/>
    <dgm:cxn modelId="{525B454B-E9D1-4448-AE50-F81C8B4F4A14}" type="presParOf" srcId="{270C2ABD-02FE-41B3-B9C5-61517FEA520F}" destId="{9B1A90AB-2D4E-43B6-AA5F-9AA7632E7666}" srcOrd="0" destOrd="0" presId="urn:microsoft.com/office/officeart/2016/7/layout/LinearArrowProcessNumbered"/>
    <dgm:cxn modelId="{131859EF-A446-4C56-A815-8B11751CDACD}" type="presParOf" srcId="{270C2ABD-02FE-41B3-B9C5-61517FEA520F}" destId="{6CE66EC8-2AFC-4DA1-A023-0BDB0C64FB1A}" srcOrd="1" destOrd="0" presId="urn:microsoft.com/office/officeart/2016/7/layout/LinearArrowProcessNumbered"/>
    <dgm:cxn modelId="{BF8504F4-0657-425E-891B-DCF2E1E52A95}" type="presParOf" srcId="{6CE66EC8-2AFC-4DA1-A023-0BDB0C64FB1A}" destId="{532342A5-C2D6-45AE-A80B-2035FDD6726A}" srcOrd="0" destOrd="0" presId="urn:microsoft.com/office/officeart/2016/7/layout/LinearArrowProcessNumbered"/>
    <dgm:cxn modelId="{190A81EC-43DF-431B-B31C-45691D54B113}" type="presParOf" srcId="{6CE66EC8-2AFC-4DA1-A023-0BDB0C64FB1A}" destId="{4310F074-381D-4F64-A4BD-5CF36F205629}" srcOrd="1" destOrd="0" presId="urn:microsoft.com/office/officeart/2016/7/layout/LinearArrowProcessNumbered"/>
    <dgm:cxn modelId="{91DC6C09-5057-4BBA-A916-76003570B086}" type="presParOf" srcId="{6CE66EC8-2AFC-4DA1-A023-0BDB0C64FB1A}" destId="{67FE8937-0939-42F9-8CC9-217D94E69F02}" srcOrd="2" destOrd="0" presId="urn:microsoft.com/office/officeart/2016/7/layout/LinearArrowProcessNumbered"/>
    <dgm:cxn modelId="{08E0F7DA-C4C2-4F7A-8B24-F7E70A1A1D41}" type="presParOf" srcId="{6CE66EC8-2AFC-4DA1-A023-0BDB0C64FB1A}" destId="{81233702-101A-4184-8D9C-EDCBA9EE3D32}" srcOrd="3" destOrd="0" presId="urn:microsoft.com/office/officeart/2016/7/layout/LinearArrowProcessNumbered"/>
    <dgm:cxn modelId="{DAC6B999-8329-41D8-857C-1A488B80871D}" type="presParOf" srcId="{270C2ABD-02FE-41B3-B9C5-61517FEA520F}" destId="{2F6F9E24-AB1B-43F6-B7EE-6D67E8D36A80}" srcOrd="2" destOrd="0" presId="urn:microsoft.com/office/officeart/2016/7/layout/LinearArrowProcessNumbered"/>
    <dgm:cxn modelId="{783449E0-BF24-4966-B562-05AAA7E40035}" type="presParOf" srcId="{B32FBD78-7895-4F3F-895A-4E81CF55E756}" destId="{553AA14F-D95A-46DB-AD85-888C15FC6FF2}" srcOrd="3" destOrd="0" presId="urn:microsoft.com/office/officeart/2016/7/layout/LinearArrowProcessNumbered"/>
    <dgm:cxn modelId="{196F5E00-6E1B-4A7E-9B0F-C7E694208283}" type="presParOf" srcId="{B32FBD78-7895-4F3F-895A-4E81CF55E756}" destId="{7D95A875-632D-49F2-9D9E-D07BC827FB9E}" srcOrd="4" destOrd="0" presId="urn:microsoft.com/office/officeart/2016/7/layout/LinearArrowProcessNumbered"/>
    <dgm:cxn modelId="{7501B5A5-D01D-43CB-99EA-775C68521E39}" type="presParOf" srcId="{7D95A875-632D-49F2-9D9E-D07BC827FB9E}" destId="{27F22802-2612-42E7-9BB1-E5A47FFE7290}" srcOrd="0" destOrd="0" presId="urn:microsoft.com/office/officeart/2016/7/layout/LinearArrowProcessNumbered"/>
    <dgm:cxn modelId="{65FE50A3-534E-4BFE-B152-9011FAD4CC61}" type="presParOf" srcId="{7D95A875-632D-49F2-9D9E-D07BC827FB9E}" destId="{8EC3CA22-35D8-4885-89CE-45E2A3632485}" srcOrd="1" destOrd="0" presId="urn:microsoft.com/office/officeart/2016/7/layout/LinearArrowProcessNumbered"/>
    <dgm:cxn modelId="{1A258F1C-5AED-48EA-9FEA-5A1C2403CBF6}" type="presParOf" srcId="{8EC3CA22-35D8-4885-89CE-45E2A3632485}" destId="{0C18A599-53E6-41A4-8CF6-18D261CE5671}" srcOrd="0" destOrd="0" presId="urn:microsoft.com/office/officeart/2016/7/layout/LinearArrowProcessNumbered"/>
    <dgm:cxn modelId="{410CF706-EF59-4C77-B278-C1A692AD1120}" type="presParOf" srcId="{8EC3CA22-35D8-4885-89CE-45E2A3632485}" destId="{EBAA590E-552A-4C24-960E-CC35C613CE64}" srcOrd="1" destOrd="0" presId="urn:microsoft.com/office/officeart/2016/7/layout/LinearArrowProcessNumbered"/>
    <dgm:cxn modelId="{0FF027DF-0DDE-49A6-9D04-33EEB28CD0C7}" type="presParOf" srcId="{8EC3CA22-35D8-4885-89CE-45E2A3632485}" destId="{84DC29AA-23D2-4F52-8987-3C35D1678CD0}" srcOrd="2" destOrd="0" presId="urn:microsoft.com/office/officeart/2016/7/layout/LinearArrowProcessNumbered"/>
    <dgm:cxn modelId="{6C3D0762-7AC2-476F-AD3E-4B204FE5256C}" type="presParOf" srcId="{8EC3CA22-35D8-4885-89CE-45E2A3632485}" destId="{7BCB0B00-BB35-43F7-ABEF-ADB6342D4401}" srcOrd="3" destOrd="0" presId="urn:microsoft.com/office/officeart/2016/7/layout/LinearArrowProcessNumbered"/>
    <dgm:cxn modelId="{F49692EB-9A8C-4171-82DF-3728BDDBAE70}" type="presParOf" srcId="{7D95A875-632D-49F2-9D9E-D07BC827FB9E}" destId="{053BAE7E-A75F-4C6A-9ED3-9FD03710B866}" srcOrd="2" destOrd="0" presId="urn:microsoft.com/office/officeart/2016/7/layout/LinearArrowProcessNumbered"/>
    <dgm:cxn modelId="{64E9BB50-5679-48D8-81BC-FB674267D037}" type="presParOf" srcId="{B32FBD78-7895-4F3F-895A-4E81CF55E756}" destId="{61410C6B-1D1E-43A3-99F6-9937E82A36B9}" srcOrd="5" destOrd="0" presId="urn:microsoft.com/office/officeart/2016/7/layout/LinearArrowProcessNumbered"/>
    <dgm:cxn modelId="{69BCFACB-9629-4D08-AB25-B86F374CF109}" type="presParOf" srcId="{B32FBD78-7895-4F3F-895A-4E81CF55E756}" destId="{F5D6D07E-165A-4563-87E0-FBD0C7150737}" srcOrd="6" destOrd="0" presId="urn:microsoft.com/office/officeart/2016/7/layout/LinearArrowProcessNumbered"/>
    <dgm:cxn modelId="{EAAC4B6D-AB69-4CA6-A3D3-832BD85D9300}" type="presParOf" srcId="{F5D6D07E-165A-4563-87E0-FBD0C7150737}" destId="{93F924AC-657D-48C9-A3BD-5F392B84A0D2}" srcOrd="0" destOrd="0" presId="urn:microsoft.com/office/officeart/2016/7/layout/LinearArrowProcessNumbered"/>
    <dgm:cxn modelId="{5E96F136-D3BE-49D1-8473-FC4396F5E4E9}" type="presParOf" srcId="{F5D6D07E-165A-4563-87E0-FBD0C7150737}" destId="{D1287D3D-0186-41AC-9BFB-E3014C6F2A0C}" srcOrd="1" destOrd="0" presId="urn:microsoft.com/office/officeart/2016/7/layout/LinearArrowProcessNumbered"/>
    <dgm:cxn modelId="{883F7601-4127-4BF4-82AA-5253FD83BD61}" type="presParOf" srcId="{D1287D3D-0186-41AC-9BFB-E3014C6F2A0C}" destId="{541B1AC1-E0D8-4DA3-9693-AF574AD410C7}" srcOrd="0" destOrd="0" presId="urn:microsoft.com/office/officeart/2016/7/layout/LinearArrowProcessNumbered"/>
    <dgm:cxn modelId="{C3ECA6DE-236E-40F8-97C9-0E13FF718D1E}" type="presParOf" srcId="{D1287D3D-0186-41AC-9BFB-E3014C6F2A0C}" destId="{8F12B39A-156E-4142-89BA-5363EFDDDE7A}" srcOrd="1" destOrd="0" presId="urn:microsoft.com/office/officeart/2016/7/layout/LinearArrowProcessNumbered"/>
    <dgm:cxn modelId="{5280EB5F-D60C-4F94-BA94-ADE18FDCE41E}" type="presParOf" srcId="{D1287D3D-0186-41AC-9BFB-E3014C6F2A0C}" destId="{F59BFEEC-CBFC-42E7-AC37-54ED890E9A63}" srcOrd="2" destOrd="0" presId="urn:microsoft.com/office/officeart/2016/7/layout/LinearArrowProcessNumbered"/>
    <dgm:cxn modelId="{7727EA3C-3547-4D33-A1C7-5FF7379D0BEF}" type="presParOf" srcId="{D1287D3D-0186-41AC-9BFB-E3014C6F2A0C}" destId="{8014DA9C-25BF-4772-B4E8-9D8090C56767}" srcOrd="3" destOrd="0" presId="urn:microsoft.com/office/officeart/2016/7/layout/LinearArrowProcessNumbered"/>
    <dgm:cxn modelId="{AD6D6AB3-E4E7-4DE2-A4AB-C0A63DDC90DC}" type="presParOf" srcId="{F5D6D07E-165A-4563-87E0-FBD0C7150737}" destId="{193D835A-B190-4097-BB37-EBD8EFCA5B58}" srcOrd="2" destOrd="0" presId="urn:microsoft.com/office/officeart/2016/7/layout/LinearArrowProcessNumbered"/>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A6D18301-54A6-4D9F-9E1C-020EEFF69F07}" type="doc">
      <dgm:prSet loTypeId="urn:microsoft.com/office/officeart/2008/layout/LinedList" loCatId="list" qsTypeId="urn:microsoft.com/office/officeart/2005/8/quickstyle/simple1" qsCatId="simple" csTypeId="urn:microsoft.com/office/officeart/2005/8/colors/accent1_2" csCatId="accent1"/>
      <dgm:spPr/>
      <dgm:t>
        <a:bodyPr/>
        <a:lstStyle/>
        <a:p>
          <a:endParaRPr lang="en-US"/>
        </a:p>
      </dgm:t>
    </dgm:pt>
    <dgm:pt modelId="{DC66CA87-8327-468B-BB10-C014C1DED6D9}">
      <dgm:prSet/>
      <dgm:spPr/>
      <dgm:t>
        <a:bodyPr/>
        <a:lstStyle/>
        <a:p>
          <a:r>
            <a:rPr lang="en-US" baseline="0"/>
            <a:t>Blocks products from purchase in public marketplace</a:t>
          </a:r>
          <a:endParaRPr lang="en-US"/>
        </a:p>
      </dgm:t>
    </dgm:pt>
    <dgm:pt modelId="{EAC8C7B4-5BF5-421F-9078-3BBDA8CA74A2}" type="parTrans" cxnId="{E0362C47-D760-4B1F-B2C4-7C7692559D98}">
      <dgm:prSet/>
      <dgm:spPr/>
      <dgm:t>
        <a:bodyPr/>
        <a:lstStyle/>
        <a:p>
          <a:endParaRPr lang="en-US"/>
        </a:p>
      </dgm:t>
    </dgm:pt>
    <dgm:pt modelId="{9149130B-8793-4396-A8F0-76004754F94A}" type="sibTrans" cxnId="{E0362C47-D760-4B1F-B2C4-7C7692559D98}">
      <dgm:prSet/>
      <dgm:spPr/>
      <dgm:t>
        <a:bodyPr/>
        <a:lstStyle/>
        <a:p>
          <a:endParaRPr lang="en-US"/>
        </a:p>
      </dgm:t>
    </dgm:pt>
    <dgm:pt modelId="{095E1885-0302-4B8D-AA0A-0C82C915876C}">
      <dgm:prSet/>
      <dgm:spPr/>
      <dgm:t>
        <a:bodyPr/>
        <a:lstStyle/>
        <a:p>
          <a:r>
            <a:rPr lang="en-US" baseline="0"/>
            <a:t>Users submit requests to add a product to the allowlist</a:t>
          </a:r>
          <a:endParaRPr lang="en-US"/>
        </a:p>
      </dgm:t>
    </dgm:pt>
    <dgm:pt modelId="{D7D9FFE1-73FD-4E12-BD8F-0758DBDBCA15}" type="parTrans" cxnId="{F696DC92-A9A6-4BB3-BCF3-443CC02B656D}">
      <dgm:prSet/>
      <dgm:spPr/>
      <dgm:t>
        <a:bodyPr/>
        <a:lstStyle/>
        <a:p>
          <a:endParaRPr lang="en-US"/>
        </a:p>
      </dgm:t>
    </dgm:pt>
    <dgm:pt modelId="{73E6F1A2-F736-4D7F-8865-641CB4885244}" type="sibTrans" cxnId="{F696DC92-A9A6-4BB3-BCF3-443CC02B656D}">
      <dgm:prSet/>
      <dgm:spPr/>
      <dgm:t>
        <a:bodyPr/>
        <a:lstStyle/>
        <a:p>
          <a:endParaRPr lang="en-US"/>
        </a:p>
      </dgm:t>
    </dgm:pt>
    <dgm:pt modelId="{C42C5D04-3DCD-4089-91D3-23BD192463CC}">
      <dgm:prSet/>
      <dgm:spPr/>
      <dgm:t>
        <a:bodyPr/>
        <a:lstStyle/>
        <a:p>
          <a:r>
            <a:rPr lang="en-US" baseline="0"/>
            <a:t>Marketplace administrator has authority to approve request</a:t>
          </a:r>
          <a:endParaRPr lang="en-US"/>
        </a:p>
      </dgm:t>
    </dgm:pt>
    <dgm:pt modelId="{6C132A7B-6CB0-4118-9619-2E4693B7CDB6}" type="parTrans" cxnId="{72EE663C-DBE1-4F82-9783-DD784A28284F}">
      <dgm:prSet/>
      <dgm:spPr/>
      <dgm:t>
        <a:bodyPr/>
        <a:lstStyle/>
        <a:p>
          <a:endParaRPr lang="en-US"/>
        </a:p>
      </dgm:t>
    </dgm:pt>
    <dgm:pt modelId="{4D0EAB66-3613-4956-A261-DD2FBCF19803}" type="sibTrans" cxnId="{72EE663C-DBE1-4F82-9783-DD784A28284F}">
      <dgm:prSet/>
      <dgm:spPr/>
      <dgm:t>
        <a:bodyPr/>
        <a:lstStyle/>
        <a:p>
          <a:endParaRPr lang="en-US"/>
        </a:p>
      </dgm:t>
    </dgm:pt>
    <dgm:pt modelId="{21614C71-2129-4E94-AA85-38275030D74B}">
      <dgm:prSet/>
      <dgm:spPr/>
      <dgm:t>
        <a:bodyPr/>
        <a:lstStyle/>
        <a:p>
          <a:r>
            <a:rPr lang="en-US" baseline="0"/>
            <a:t>Private offers can be automatically enabled, if configured to</a:t>
          </a:r>
          <a:endParaRPr lang="en-US"/>
        </a:p>
      </dgm:t>
    </dgm:pt>
    <dgm:pt modelId="{4EA00041-6060-4398-8E1D-D02689F050B6}" type="parTrans" cxnId="{42CA3C12-A7B5-4A5F-8288-35542AF64A49}">
      <dgm:prSet/>
      <dgm:spPr/>
      <dgm:t>
        <a:bodyPr/>
        <a:lstStyle/>
        <a:p>
          <a:endParaRPr lang="en-US"/>
        </a:p>
      </dgm:t>
    </dgm:pt>
    <dgm:pt modelId="{4E35D39C-BA92-483F-84AD-96A7B7ED05EA}" type="sibTrans" cxnId="{42CA3C12-A7B5-4A5F-8288-35542AF64A49}">
      <dgm:prSet/>
      <dgm:spPr/>
      <dgm:t>
        <a:bodyPr/>
        <a:lstStyle/>
        <a:p>
          <a:endParaRPr lang="en-US"/>
        </a:p>
      </dgm:t>
    </dgm:pt>
    <dgm:pt modelId="{4E273EAA-5A7C-4F54-AA0C-4CF1E19B2FBF}" type="pres">
      <dgm:prSet presAssocID="{A6D18301-54A6-4D9F-9E1C-020EEFF69F07}" presName="vert0" presStyleCnt="0">
        <dgm:presLayoutVars>
          <dgm:dir/>
          <dgm:animOne val="branch"/>
          <dgm:animLvl val="lvl"/>
        </dgm:presLayoutVars>
      </dgm:prSet>
      <dgm:spPr/>
    </dgm:pt>
    <dgm:pt modelId="{B0DBE902-140E-43C4-8CAE-B7EB3D2A7223}" type="pres">
      <dgm:prSet presAssocID="{DC66CA87-8327-468B-BB10-C014C1DED6D9}" presName="thickLine" presStyleLbl="alignNode1" presStyleIdx="0" presStyleCnt="4"/>
      <dgm:spPr/>
    </dgm:pt>
    <dgm:pt modelId="{AEA5C804-D5A4-4653-AA4C-B5BEF8724A56}" type="pres">
      <dgm:prSet presAssocID="{DC66CA87-8327-468B-BB10-C014C1DED6D9}" presName="horz1" presStyleCnt="0"/>
      <dgm:spPr/>
    </dgm:pt>
    <dgm:pt modelId="{E562DAD4-9FDC-45A9-9AE3-78751362B493}" type="pres">
      <dgm:prSet presAssocID="{DC66CA87-8327-468B-BB10-C014C1DED6D9}" presName="tx1" presStyleLbl="revTx" presStyleIdx="0" presStyleCnt="4"/>
      <dgm:spPr/>
    </dgm:pt>
    <dgm:pt modelId="{8C6B8F8C-C103-4E28-ABA3-8798AF443699}" type="pres">
      <dgm:prSet presAssocID="{DC66CA87-8327-468B-BB10-C014C1DED6D9}" presName="vert1" presStyleCnt="0"/>
      <dgm:spPr/>
    </dgm:pt>
    <dgm:pt modelId="{8EF03BD3-77B9-47AC-A999-C8C8C4C9C185}" type="pres">
      <dgm:prSet presAssocID="{095E1885-0302-4B8D-AA0A-0C82C915876C}" presName="thickLine" presStyleLbl="alignNode1" presStyleIdx="1" presStyleCnt="4"/>
      <dgm:spPr/>
    </dgm:pt>
    <dgm:pt modelId="{43F04D26-14D7-4B68-9720-4BC7F966F825}" type="pres">
      <dgm:prSet presAssocID="{095E1885-0302-4B8D-AA0A-0C82C915876C}" presName="horz1" presStyleCnt="0"/>
      <dgm:spPr/>
    </dgm:pt>
    <dgm:pt modelId="{8D0B2B12-A86F-44B5-85E0-CE99A74E8F85}" type="pres">
      <dgm:prSet presAssocID="{095E1885-0302-4B8D-AA0A-0C82C915876C}" presName="tx1" presStyleLbl="revTx" presStyleIdx="1" presStyleCnt="4"/>
      <dgm:spPr/>
    </dgm:pt>
    <dgm:pt modelId="{A84AF0EB-C4A7-4633-87AB-E3B556FEF417}" type="pres">
      <dgm:prSet presAssocID="{095E1885-0302-4B8D-AA0A-0C82C915876C}" presName="vert1" presStyleCnt="0"/>
      <dgm:spPr/>
    </dgm:pt>
    <dgm:pt modelId="{8398ADA1-D379-4DD1-8756-E9B8F775C25C}" type="pres">
      <dgm:prSet presAssocID="{C42C5D04-3DCD-4089-91D3-23BD192463CC}" presName="thickLine" presStyleLbl="alignNode1" presStyleIdx="2" presStyleCnt="4"/>
      <dgm:spPr/>
    </dgm:pt>
    <dgm:pt modelId="{EB49AD75-FB49-444D-8748-C35213DA4AA1}" type="pres">
      <dgm:prSet presAssocID="{C42C5D04-3DCD-4089-91D3-23BD192463CC}" presName="horz1" presStyleCnt="0"/>
      <dgm:spPr/>
    </dgm:pt>
    <dgm:pt modelId="{2797FAB6-F0C4-43DC-B314-AEBAAEFBC348}" type="pres">
      <dgm:prSet presAssocID="{C42C5D04-3DCD-4089-91D3-23BD192463CC}" presName="tx1" presStyleLbl="revTx" presStyleIdx="2" presStyleCnt="4"/>
      <dgm:spPr/>
    </dgm:pt>
    <dgm:pt modelId="{19657FB0-4802-4049-B479-777203F3EB30}" type="pres">
      <dgm:prSet presAssocID="{C42C5D04-3DCD-4089-91D3-23BD192463CC}" presName="vert1" presStyleCnt="0"/>
      <dgm:spPr/>
    </dgm:pt>
    <dgm:pt modelId="{CB3FE173-EA37-4B0F-AE25-C7F4DEE94519}" type="pres">
      <dgm:prSet presAssocID="{21614C71-2129-4E94-AA85-38275030D74B}" presName="thickLine" presStyleLbl="alignNode1" presStyleIdx="3" presStyleCnt="4"/>
      <dgm:spPr/>
    </dgm:pt>
    <dgm:pt modelId="{0041568D-DECE-4400-9A7F-5646F1E7DA99}" type="pres">
      <dgm:prSet presAssocID="{21614C71-2129-4E94-AA85-38275030D74B}" presName="horz1" presStyleCnt="0"/>
      <dgm:spPr/>
    </dgm:pt>
    <dgm:pt modelId="{7ED721C8-F77C-4A91-857C-106EBAF30D3C}" type="pres">
      <dgm:prSet presAssocID="{21614C71-2129-4E94-AA85-38275030D74B}" presName="tx1" presStyleLbl="revTx" presStyleIdx="3" presStyleCnt="4"/>
      <dgm:spPr/>
    </dgm:pt>
    <dgm:pt modelId="{B47A6A5C-004B-4BFA-BA52-CED7BBCBC46E}" type="pres">
      <dgm:prSet presAssocID="{21614C71-2129-4E94-AA85-38275030D74B}" presName="vert1" presStyleCnt="0"/>
      <dgm:spPr/>
    </dgm:pt>
  </dgm:ptLst>
  <dgm:cxnLst>
    <dgm:cxn modelId="{1882C207-5529-4D54-92AA-AEDDB3BB75F4}" type="presOf" srcId="{C42C5D04-3DCD-4089-91D3-23BD192463CC}" destId="{2797FAB6-F0C4-43DC-B314-AEBAAEFBC348}" srcOrd="0" destOrd="0" presId="urn:microsoft.com/office/officeart/2008/layout/LinedList"/>
    <dgm:cxn modelId="{42CA3C12-A7B5-4A5F-8288-35542AF64A49}" srcId="{A6D18301-54A6-4D9F-9E1C-020EEFF69F07}" destId="{21614C71-2129-4E94-AA85-38275030D74B}" srcOrd="3" destOrd="0" parTransId="{4EA00041-6060-4398-8E1D-D02689F050B6}" sibTransId="{4E35D39C-BA92-483F-84AD-96A7B7ED05EA}"/>
    <dgm:cxn modelId="{72EE663C-DBE1-4F82-9783-DD784A28284F}" srcId="{A6D18301-54A6-4D9F-9E1C-020EEFF69F07}" destId="{C42C5D04-3DCD-4089-91D3-23BD192463CC}" srcOrd="2" destOrd="0" parTransId="{6C132A7B-6CB0-4118-9619-2E4693B7CDB6}" sibTransId="{4D0EAB66-3613-4956-A261-DD2FBCF19803}"/>
    <dgm:cxn modelId="{040A915D-8BCE-4C9A-A32E-47C44CE0C44C}" type="presOf" srcId="{21614C71-2129-4E94-AA85-38275030D74B}" destId="{7ED721C8-F77C-4A91-857C-106EBAF30D3C}" srcOrd="0" destOrd="0" presId="urn:microsoft.com/office/officeart/2008/layout/LinedList"/>
    <dgm:cxn modelId="{E0362C47-D760-4B1F-B2C4-7C7692559D98}" srcId="{A6D18301-54A6-4D9F-9E1C-020EEFF69F07}" destId="{DC66CA87-8327-468B-BB10-C014C1DED6D9}" srcOrd="0" destOrd="0" parTransId="{EAC8C7B4-5BF5-421F-9078-3BBDA8CA74A2}" sibTransId="{9149130B-8793-4396-A8F0-76004754F94A}"/>
    <dgm:cxn modelId="{F696DC92-A9A6-4BB3-BCF3-443CC02B656D}" srcId="{A6D18301-54A6-4D9F-9E1C-020EEFF69F07}" destId="{095E1885-0302-4B8D-AA0A-0C82C915876C}" srcOrd="1" destOrd="0" parTransId="{D7D9FFE1-73FD-4E12-BD8F-0758DBDBCA15}" sibTransId="{73E6F1A2-F736-4D7F-8865-641CB4885244}"/>
    <dgm:cxn modelId="{21A75FA0-6B8D-4895-9E6E-5E02E27C216F}" type="presOf" srcId="{DC66CA87-8327-468B-BB10-C014C1DED6D9}" destId="{E562DAD4-9FDC-45A9-9AE3-78751362B493}" srcOrd="0" destOrd="0" presId="urn:microsoft.com/office/officeart/2008/layout/LinedList"/>
    <dgm:cxn modelId="{0555C7D6-E341-4679-91DD-2E0560B03014}" type="presOf" srcId="{A6D18301-54A6-4D9F-9E1C-020EEFF69F07}" destId="{4E273EAA-5A7C-4F54-AA0C-4CF1E19B2FBF}" srcOrd="0" destOrd="0" presId="urn:microsoft.com/office/officeart/2008/layout/LinedList"/>
    <dgm:cxn modelId="{148D73E7-27A3-4958-877A-C8B346B75F47}" type="presOf" srcId="{095E1885-0302-4B8D-AA0A-0C82C915876C}" destId="{8D0B2B12-A86F-44B5-85E0-CE99A74E8F85}" srcOrd="0" destOrd="0" presId="urn:microsoft.com/office/officeart/2008/layout/LinedList"/>
    <dgm:cxn modelId="{1B4AF0D9-5444-4DD5-8770-15B5CBCE2EB9}" type="presParOf" srcId="{4E273EAA-5A7C-4F54-AA0C-4CF1E19B2FBF}" destId="{B0DBE902-140E-43C4-8CAE-B7EB3D2A7223}" srcOrd="0" destOrd="0" presId="urn:microsoft.com/office/officeart/2008/layout/LinedList"/>
    <dgm:cxn modelId="{749DA30A-9429-4F90-8901-BD5B2383AFE3}" type="presParOf" srcId="{4E273EAA-5A7C-4F54-AA0C-4CF1E19B2FBF}" destId="{AEA5C804-D5A4-4653-AA4C-B5BEF8724A56}" srcOrd="1" destOrd="0" presId="urn:microsoft.com/office/officeart/2008/layout/LinedList"/>
    <dgm:cxn modelId="{FC774594-EDB0-4B96-9E45-1F006B1B7F4C}" type="presParOf" srcId="{AEA5C804-D5A4-4653-AA4C-B5BEF8724A56}" destId="{E562DAD4-9FDC-45A9-9AE3-78751362B493}" srcOrd="0" destOrd="0" presId="urn:microsoft.com/office/officeart/2008/layout/LinedList"/>
    <dgm:cxn modelId="{3E92274C-EC2D-4604-98FE-8928D6CA3765}" type="presParOf" srcId="{AEA5C804-D5A4-4653-AA4C-B5BEF8724A56}" destId="{8C6B8F8C-C103-4E28-ABA3-8798AF443699}" srcOrd="1" destOrd="0" presId="urn:microsoft.com/office/officeart/2008/layout/LinedList"/>
    <dgm:cxn modelId="{18936467-F162-4DD9-80C1-B775901E30AD}" type="presParOf" srcId="{4E273EAA-5A7C-4F54-AA0C-4CF1E19B2FBF}" destId="{8EF03BD3-77B9-47AC-A999-C8C8C4C9C185}" srcOrd="2" destOrd="0" presId="urn:microsoft.com/office/officeart/2008/layout/LinedList"/>
    <dgm:cxn modelId="{ADDD0DD8-0756-49A7-8839-9FA6A10890BB}" type="presParOf" srcId="{4E273EAA-5A7C-4F54-AA0C-4CF1E19B2FBF}" destId="{43F04D26-14D7-4B68-9720-4BC7F966F825}" srcOrd="3" destOrd="0" presId="urn:microsoft.com/office/officeart/2008/layout/LinedList"/>
    <dgm:cxn modelId="{67E3B294-EA54-4A4E-9724-717FB0ECA16E}" type="presParOf" srcId="{43F04D26-14D7-4B68-9720-4BC7F966F825}" destId="{8D0B2B12-A86F-44B5-85E0-CE99A74E8F85}" srcOrd="0" destOrd="0" presId="urn:microsoft.com/office/officeart/2008/layout/LinedList"/>
    <dgm:cxn modelId="{6C5C367F-14FF-4B3E-9E1D-A5F6746F599E}" type="presParOf" srcId="{43F04D26-14D7-4B68-9720-4BC7F966F825}" destId="{A84AF0EB-C4A7-4633-87AB-E3B556FEF417}" srcOrd="1" destOrd="0" presId="urn:microsoft.com/office/officeart/2008/layout/LinedList"/>
    <dgm:cxn modelId="{33817A91-817B-4493-A47E-9D7DB6CEAAD4}" type="presParOf" srcId="{4E273EAA-5A7C-4F54-AA0C-4CF1E19B2FBF}" destId="{8398ADA1-D379-4DD1-8756-E9B8F775C25C}" srcOrd="4" destOrd="0" presId="urn:microsoft.com/office/officeart/2008/layout/LinedList"/>
    <dgm:cxn modelId="{F1F4FB0F-8E5D-44F8-8885-70E879699A5F}" type="presParOf" srcId="{4E273EAA-5A7C-4F54-AA0C-4CF1E19B2FBF}" destId="{EB49AD75-FB49-444D-8748-C35213DA4AA1}" srcOrd="5" destOrd="0" presId="urn:microsoft.com/office/officeart/2008/layout/LinedList"/>
    <dgm:cxn modelId="{7244855E-43DF-47BA-BDA7-0A75DB8D9535}" type="presParOf" srcId="{EB49AD75-FB49-444D-8748-C35213DA4AA1}" destId="{2797FAB6-F0C4-43DC-B314-AEBAAEFBC348}" srcOrd="0" destOrd="0" presId="urn:microsoft.com/office/officeart/2008/layout/LinedList"/>
    <dgm:cxn modelId="{F295C87E-8585-402A-AB92-6CFFF425C92A}" type="presParOf" srcId="{EB49AD75-FB49-444D-8748-C35213DA4AA1}" destId="{19657FB0-4802-4049-B479-777203F3EB30}" srcOrd="1" destOrd="0" presId="urn:microsoft.com/office/officeart/2008/layout/LinedList"/>
    <dgm:cxn modelId="{A5E44110-CAD2-4C0E-B302-3E1E042369D8}" type="presParOf" srcId="{4E273EAA-5A7C-4F54-AA0C-4CF1E19B2FBF}" destId="{CB3FE173-EA37-4B0F-AE25-C7F4DEE94519}" srcOrd="6" destOrd="0" presId="urn:microsoft.com/office/officeart/2008/layout/LinedList"/>
    <dgm:cxn modelId="{1ECDA86F-D4DE-489D-A1BB-A77AC5A8FDB3}" type="presParOf" srcId="{4E273EAA-5A7C-4F54-AA0C-4CF1E19B2FBF}" destId="{0041568D-DECE-4400-9A7F-5646F1E7DA99}" srcOrd="7" destOrd="0" presId="urn:microsoft.com/office/officeart/2008/layout/LinedList"/>
    <dgm:cxn modelId="{313D5339-59AA-42DF-BD17-BB403CE8FAF1}" type="presParOf" srcId="{0041568D-DECE-4400-9A7F-5646F1E7DA99}" destId="{7ED721C8-F77C-4A91-857C-106EBAF30D3C}" srcOrd="0" destOrd="0" presId="urn:microsoft.com/office/officeart/2008/layout/LinedList"/>
    <dgm:cxn modelId="{DDDD0496-FE7C-4982-8DA1-1CE746F56EBC}" type="presParOf" srcId="{0041568D-DECE-4400-9A7F-5646F1E7DA99}" destId="{B47A6A5C-004B-4BFA-BA52-CED7BBCBC46E}"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D0D0D1F0-6593-4F77-A117-A6F63687C847}"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B6418E4E-003B-4691-B41A-34E015569CB3}">
      <dgm:prSet/>
      <dgm:spPr>
        <a:solidFill>
          <a:schemeClr val="accent2"/>
        </a:solidFill>
      </dgm:spPr>
      <dgm:t>
        <a:bodyPr/>
        <a:lstStyle/>
        <a:p>
          <a:r>
            <a:rPr lang="en-US" baseline="0"/>
            <a:t>Azure Marketplace Limitations</a:t>
          </a:r>
          <a:endParaRPr lang="en-US"/>
        </a:p>
      </dgm:t>
    </dgm:pt>
    <dgm:pt modelId="{25ACF0B4-0B30-41F6-97A6-CFAC35833A2B}" type="parTrans" cxnId="{898C4B83-7F64-4F02-B13C-9CAC0D415769}">
      <dgm:prSet/>
      <dgm:spPr/>
      <dgm:t>
        <a:bodyPr/>
        <a:lstStyle/>
        <a:p>
          <a:endParaRPr lang="en-US"/>
        </a:p>
      </dgm:t>
    </dgm:pt>
    <dgm:pt modelId="{D7652A6F-46E1-4CFB-958C-E099AE2274B6}" type="sibTrans" cxnId="{898C4B83-7F64-4F02-B13C-9CAC0D415769}">
      <dgm:prSet/>
      <dgm:spPr/>
      <dgm:t>
        <a:bodyPr/>
        <a:lstStyle/>
        <a:p>
          <a:endParaRPr lang="en-US"/>
        </a:p>
      </dgm:t>
    </dgm:pt>
    <dgm:pt modelId="{F1951E54-9E6E-4628-9C80-B38FFD0B2435}">
      <dgm:prSet/>
      <dgm:spPr>
        <a:solidFill>
          <a:schemeClr val="accent2">
            <a:lumMod val="20000"/>
            <a:lumOff val="80000"/>
            <a:alpha val="90000"/>
          </a:schemeClr>
        </a:solidFill>
      </dgm:spPr>
      <dgm:t>
        <a:bodyPr/>
        <a:lstStyle/>
        <a:p>
          <a:r>
            <a:rPr lang="en-US" baseline="0"/>
            <a:t>Role-based access control is within subscription</a:t>
          </a:r>
          <a:endParaRPr lang="en-US"/>
        </a:p>
      </dgm:t>
    </dgm:pt>
    <dgm:pt modelId="{4BC5F3DF-999F-43EF-8287-F494F4AA33AA}" type="parTrans" cxnId="{BE285303-E451-44BF-BCE7-BED529E8D7E7}">
      <dgm:prSet/>
      <dgm:spPr/>
      <dgm:t>
        <a:bodyPr/>
        <a:lstStyle/>
        <a:p>
          <a:endParaRPr lang="en-US"/>
        </a:p>
      </dgm:t>
    </dgm:pt>
    <dgm:pt modelId="{6342F0D6-5DEB-45BA-8837-AA79F8DEA2B4}" type="sibTrans" cxnId="{BE285303-E451-44BF-BCE7-BED529E8D7E7}">
      <dgm:prSet/>
      <dgm:spPr/>
      <dgm:t>
        <a:bodyPr/>
        <a:lstStyle/>
        <a:p>
          <a:endParaRPr lang="en-US"/>
        </a:p>
      </dgm:t>
    </dgm:pt>
    <dgm:pt modelId="{C598C45C-4963-4B62-B402-DD5A4BB5F082}">
      <dgm:prSet/>
      <dgm:spPr>
        <a:solidFill>
          <a:schemeClr val="accent2">
            <a:lumMod val="20000"/>
            <a:lumOff val="80000"/>
            <a:alpha val="90000"/>
          </a:schemeClr>
        </a:solidFill>
      </dgm:spPr>
      <dgm:t>
        <a:bodyPr/>
        <a:lstStyle/>
        <a:p>
          <a:r>
            <a:rPr lang="en-US" baseline="0"/>
            <a:t>Anyone with subscription owner/contributor permissions can purchase</a:t>
          </a:r>
          <a:endParaRPr lang="en-US"/>
        </a:p>
      </dgm:t>
    </dgm:pt>
    <dgm:pt modelId="{0E899BD2-301C-4E61-8A62-EEB0DFAEEE8F}" type="parTrans" cxnId="{EC03B0FC-14B0-4174-B2DB-052BED736E1D}">
      <dgm:prSet/>
      <dgm:spPr/>
      <dgm:t>
        <a:bodyPr/>
        <a:lstStyle/>
        <a:p>
          <a:endParaRPr lang="en-US"/>
        </a:p>
      </dgm:t>
    </dgm:pt>
    <dgm:pt modelId="{0D5F0143-754C-4698-9068-5FB0F093FD3B}" type="sibTrans" cxnId="{EC03B0FC-14B0-4174-B2DB-052BED736E1D}">
      <dgm:prSet/>
      <dgm:spPr/>
      <dgm:t>
        <a:bodyPr/>
        <a:lstStyle/>
        <a:p>
          <a:endParaRPr lang="en-US"/>
        </a:p>
      </dgm:t>
    </dgm:pt>
    <dgm:pt modelId="{4ECCC43C-D0C1-44BB-BC93-DD447DED33EB}">
      <dgm:prSet/>
      <dgm:spPr>
        <a:solidFill>
          <a:schemeClr val="accent2">
            <a:lumMod val="20000"/>
            <a:lumOff val="80000"/>
            <a:alpha val="90000"/>
          </a:schemeClr>
        </a:solidFill>
      </dgm:spPr>
      <dgm:t>
        <a:bodyPr/>
        <a:lstStyle/>
        <a:p>
          <a:r>
            <a:rPr lang="en-US" baseline="0"/>
            <a:t>No "out of the box" integration with enterprise procurement or workflow</a:t>
          </a:r>
          <a:endParaRPr lang="en-US"/>
        </a:p>
      </dgm:t>
    </dgm:pt>
    <dgm:pt modelId="{64DC84BD-6DD4-42EA-B8B0-A85178FEFAF7}" type="parTrans" cxnId="{28CF537D-988B-4039-9530-DF3757ADF455}">
      <dgm:prSet/>
      <dgm:spPr/>
      <dgm:t>
        <a:bodyPr/>
        <a:lstStyle/>
        <a:p>
          <a:endParaRPr lang="en-US"/>
        </a:p>
      </dgm:t>
    </dgm:pt>
    <dgm:pt modelId="{3CAA3943-6853-4BF9-9DD9-0FC3A4B87964}" type="sibTrans" cxnId="{28CF537D-988B-4039-9530-DF3757ADF455}">
      <dgm:prSet/>
      <dgm:spPr/>
      <dgm:t>
        <a:bodyPr/>
        <a:lstStyle/>
        <a:p>
          <a:endParaRPr lang="en-US"/>
        </a:p>
      </dgm:t>
    </dgm:pt>
    <dgm:pt modelId="{2BF40411-C4C7-47E7-A1B5-43A19D37EE0E}">
      <dgm:prSet/>
      <dgm:spPr>
        <a:solidFill>
          <a:schemeClr val="accent2"/>
        </a:solidFill>
      </dgm:spPr>
      <dgm:t>
        <a:bodyPr/>
        <a:lstStyle/>
        <a:p>
          <a:r>
            <a:rPr lang="en-US" baseline="0"/>
            <a:t>Organization must adhere to procurement policies and procedures</a:t>
          </a:r>
          <a:endParaRPr lang="en-US"/>
        </a:p>
      </dgm:t>
    </dgm:pt>
    <dgm:pt modelId="{AB1156D9-1B36-4951-B650-04290E6FEE32}" type="parTrans" cxnId="{3F4EE81D-6828-4514-9F69-971EE815E913}">
      <dgm:prSet/>
      <dgm:spPr/>
      <dgm:t>
        <a:bodyPr/>
        <a:lstStyle/>
        <a:p>
          <a:endParaRPr lang="en-US"/>
        </a:p>
      </dgm:t>
    </dgm:pt>
    <dgm:pt modelId="{EFE02CC9-4E05-437D-90B3-A69887EDD5A3}" type="sibTrans" cxnId="{3F4EE81D-6828-4514-9F69-971EE815E913}">
      <dgm:prSet/>
      <dgm:spPr/>
      <dgm:t>
        <a:bodyPr/>
        <a:lstStyle/>
        <a:p>
          <a:endParaRPr lang="en-US"/>
        </a:p>
      </dgm:t>
    </dgm:pt>
    <dgm:pt modelId="{C2F80E1F-6628-477E-8243-650D05AC1153}">
      <dgm:prSet/>
      <dgm:spPr>
        <a:solidFill>
          <a:schemeClr val="accent2">
            <a:lumMod val="20000"/>
            <a:lumOff val="80000"/>
            <a:alpha val="90000"/>
          </a:schemeClr>
        </a:solidFill>
      </dgm:spPr>
      <dgm:t>
        <a:bodyPr/>
        <a:lstStyle/>
        <a:p>
          <a:r>
            <a:rPr lang="en-US" baseline="0"/>
            <a:t>Must be managed externally to the Azure portal</a:t>
          </a:r>
          <a:endParaRPr lang="en-US"/>
        </a:p>
      </dgm:t>
    </dgm:pt>
    <dgm:pt modelId="{27FE5C79-7E8A-4566-8896-AE9525CC23F3}" type="parTrans" cxnId="{6794B163-9A28-4A7C-8F59-EF2290271D5E}">
      <dgm:prSet/>
      <dgm:spPr/>
      <dgm:t>
        <a:bodyPr/>
        <a:lstStyle/>
        <a:p>
          <a:endParaRPr lang="en-US"/>
        </a:p>
      </dgm:t>
    </dgm:pt>
    <dgm:pt modelId="{553E2425-0FFB-45A5-B7A6-EE9C96AE0A44}" type="sibTrans" cxnId="{6794B163-9A28-4A7C-8F59-EF2290271D5E}">
      <dgm:prSet/>
      <dgm:spPr/>
      <dgm:t>
        <a:bodyPr/>
        <a:lstStyle/>
        <a:p>
          <a:endParaRPr lang="en-US"/>
        </a:p>
      </dgm:t>
    </dgm:pt>
    <dgm:pt modelId="{211B19DC-D5A5-4A01-A9EB-E9BF1C6231B3}">
      <dgm:prSet/>
      <dgm:spPr>
        <a:solidFill>
          <a:schemeClr val="accent2">
            <a:lumMod val="20000"/>
            <a:lumOff val="80000"/>
            <a:alpha val="90000"/>
          </a:schemeClr>
        </a:solidFill>
      </dgm:spPr>
      <dgm:t>
        <a:bodyPr/>
        <a:lstStyle/>
        <a:p>
          <a:r>
            <a:rPr lang="en-US" baseline="0"/>
            <a:t>Examples: Identifying who authorizes purchases</a:t>
          </a:r>
          <a:endParaRPr lang="en-US"/>
        </a:p>
      </dgm:t>
    </dgm:pt>
    <dgm:pt modelId="{2E277110-5B48-4F3A-9CC3-20BA78096625}" type="parTrans" cxnId="{8DB5D4D1-7DBD-4EB4-8ED0-5DEE9CDCF52E}">
      <dgm:prSet/>
      <dgm:spPr/>
      <dgm:t>
        <a:bodyPr/>
        <a:lstStyle/>
        <a:p>
          <a:endParaRPr lang="en-US"/>
        </a:p>
      </dgm:t>
    </dgm:pt>
    <dgm:pt modelId="{FF6B3FA0-E971-48C0-822A-CDA708380DE9}" type="sibTrans" cxnId="{8DB5D4D1-7DBD-4EB4-8ED0-5DEE9CDCF52E}">
      <dgm:prSet/>
      <dgm:spPr/>
      <dgm:t>
        <a:bodyPr/>
        <a:lstStyle/>
        <a:p>
          <a:endParaRPr lang="en-US"/>
        </a:p>
      </dgm:t>
    </dgm:pt>
    <dgm:pt modelId="{B739AD5A-0DBC-4F93-B8B6-78A3FD305EC6}">
      <dgm:prSet/>
      <dgm:spPr>
        <a:solidFill>
          <a:schemeClr val="accent2">
            <a:lumMod val="20000"/>
            <a:lumOff val="80000"/>
            <a:alpha val="90000"/>
          </a:schemeClr>
        </a:solidFill>
      </dgm:spPr>
      <dgm:t>
        <a:bodyPr/>
        <a:lstStyle/>
        <a:p>
          <a:r>
            <a:rPr lang="en-US" baseline="0"/>
            <a:t>Established approval hierarchies</a:t>
          </a:r>
          <a:endParaRPr lang="en-US"/>
        </a:p>
      </dgm:t>
    </dgm:pt>
    <dgm:pt modelId="{1C978DD7-3440-42FB-9456-631D7104E094}" type="parTrans" cxnId="{2F3E380B-B9D1-4D3A-A1DA-7305A551D365}">
      <dgm:prSet/>
      <dgm:spPr/>
      <dgm:t>
        <a:bodyPr/>
        <a:lstStyle/>
        <a:p>
          <a:endParaRPr lang="en-US"/>
        </a:p>
      </dgm:t>
    </dgm:pt>
    <dgm:pt modelId="{08C13686-F47A-42CD-9659-8862AF27AC87}" type="sibTrans" cxnId="{2F3E380B-B9D1-4D3A-A1DA-7305A551D365}">
      <dgm:prSet/>
      <dgm:spPr/>
      <dgm:t>
        <a:bodyPr/>
        <a:lstStyle/>
        <a:p>
          <a:endParaRPr lang="en-US"/>
        </a:p>
      </dgm:t>
    </dgm:pt>
    <dgm:pt modelId="{D12C46BC-89EC-41A0-B0B0-26EF8613136A}">
      <dgm:prSet/>
      <dgm:spPr>
        <a:solidFill>
          <a:schemeClr val="accent2">
            <a:lumMod val="20000"/>
            <a:lumOff val="80000"/>
            <a:alpha val="90000"/>
          </a:schemeClr>
        </a:solidFill>
      </dgm:spPr>
      <dgm:t>
        <a:bodyPr/>
        <a:lstStyle/>
        <a:p>
          <a:r>
            <a:rPr lang="en-US" baseline="0"/>
            <a:t>Determination of who executes purchase</a:t>
          </a:r>
          <a:endParaRPr lang="en-US"/>
        </a:p>
      </dgm:t>
    </dgm:pt>
    <dgm:pt modelId="{BDADECA5-18E5-424B-8327-6919469372EF}" type="parTrans" cxnId="{7DABD7B6-D0FC-4C1D-B27C-19903A4C4FC5}">
      <dgm:prSet/>
      <dgm:spPr/>
      <dgm:t>
        <a:bodyPr/>
        <a:lstStyle/>
        <a:p>
          <a:endParaRPr lang="en-US"/>
        </a:p>
      </dgm:t>
    </dgm:pt>
    <dgm:pt modelId="{A9F7189A-D2E9-4261-8D4E-EA9CF6FBF52F}" type="sibTrans" cxnId="{7DABD7B6-D0FC-4C1D-B27C-19903A4C4FC5}">
      <dgm:prSet/>
      <dgm:spPr/>
      <dgm:t>
        <a:bodyPr/>
        <a:lstStyle/>
        <a:p>
          <a:endParaRPr lang="en-US"/>
        </a:p>
      </dgm:t>
    </dgm:pt>
    <dgm:pt modelId="{23890282-9A25-4F84-8477-BFE7FCB7F881}" type="pres">
      <dgm:prSet presAssocID="{D0D0D1F0-6593-4F77-A117-A6F63687C847}" presName="Name0" presStyleCnt="0">
        <dgm:presLayoutVars>
          <dgm:dir/>
          <dgm:animLvl val="lvl"/>
          <dgm:resizeHandles val="exact"/>
        </dgm:presLayoutVars>
      </dgm:prSet>
      <dgm:spPr/>
    </dgm:pt>
    <dgm:pt modelId="{15B4DAEB-3AE4-4BF7-9685-2B2318A913A0}" type="pres">
      <dgm:prSet presAssocID="{B6418E4E-003B-4691-B41A-34E015569CB3}" presName="linNode" presStyleCnt="0"/>
      <dgm:spPr/>
    </dgm:pt>
    <dgm:pt modelId="{C17A61C0-9B07-499E-93CE-8DBF948A5B72}" type="pres">
      <dgm:prSet presAssocID="{B6418E4E-003B-4691-B41A-34E015569CB3}" presName="parentText" presStyleLbl="node1" presStyleIdx="0" presStyleCnt="2">
        <dgm:presLayoutVars>
          <dgm:chMax val="1"/>
          <dgm:bulletEnabled val="1"/>
        </dgm:presLayoutVars>
      </dgm:prSet>
      <dgm:spPr/>
    </dgm:pt>
    <dgm:pt modelId="{EBFD211D-10BB-400E-BC0C-3BDFB2F913A8}" type="pres">
      <dgm:prSet presAssocID="{B6418E4E-003B-4691-B41A-34E015569CB3}" presName="descendantText" presStyleLbl="alignAccFollowNode1" presStyleIdx="0" presStyleCnt="2">
        <dgm:presLayoutVars>
          <dgm:bulletEnabled val="1"/>
        </dgm:presLayoutVars>
      </dgm:prSet>
      <dgm:spPr/>
    </dgm:pt>
    <dgm:pt modelId="{AF77CBDB-5AD4-4FF0-AAE4-7DA7BB7283CE}" type="pres">
      <dgm:prSet presAssocID="{D7652A6F-46E1-4CFB-958C-E099AE2274B6}" presName="sp" presStyleCnt="0"/>
      <dgm:spPr/>
    </dgm:pt>
    <dgm:pt modelId="{9CE3F98D-3703-4808-B59E-E8AE31E27BE7}" type="pres">
      <dgm:prSet presAssocID="{2BF40411-C4C7-47E7-A1B5-43A19D37EE0E}" presName="linNode" presStyleCnt="0"/>
      <dgm:spPr/>
    </dgm:pt>
    <dgm:pt modelId="{6611B5D6-ABA5-419E-B96D-0DE591D8C5FE}" type="pres">
      <dgm:prSet presAssocID="{2BF40411-C4C7-47E7-A1B5-43A19D37EE0E}" presName="parentText" presStyleLbl="node1" presStyleIdx="1" presStyleCnt="2">
        <dgm:presLayoutVars>
          <dgm:chMax val="1"/>
          <dgm:bulletEnabled val="1"/>
        </dgm:presLayoutVars>
      </dgm:prSet>
      <dgm:spPr/>
    </dgm:pt>
    <dgm:pt modelId="{00CF4A83-DEB6-4C79-A309-E1F6386EADA4}" type="pres">
      <dgm:prSet presAssocID="{2BF40411-C4C7-47E7-A1B5-43A19D37EE0E}" presName="descendantText" presStyleLbl="alignAccFollowNode1" presStyleIdx="1" presStyleCnt="2">
        <dgm:presLayoutVars>
          <dgm:bulletEnabled val="1"/>
        </dgm:presLayoutVars>
      </dgm:prSet>
      <dgm:spPr/>
    </dgm:pt>
  </dgm:ptLst>
  <dgm:cxnLst>
    <dgm:cxn modelId="{BE285303-E451-44BF-BCE7-BED529E8D7E7}" srcId="{B6418E4E-003B-4691-B41A-34E015569CB3}" destId="{F1951E54-9E6E-4628-9C80-B38FFD0B2435}" srcOrd="0" destOrd="0" parTransId="{4BC5F3DF-999F-43EF-8287-F494F4AA33AA}" sibTransId="{6342F0D6-5DEB-45BA-8837-AA79F8DEA2B4}"/>
    <dgm:cxn modelId="{2F3E380B-B9D1-4D3A-A1DA-7305A551D365}" srcId="{C2F80E1F-6628-477E-8243-650D05AC1153}" destId="{B739AD5A-0DBC-4F93-B8B6-78A3FD305EC6}" srcOrd="1" destOrd="0" parTransId="{1C978DD7-3440-42FB-9456-631D7104E094}" sibTransId="{08C13686-F47A-42CD-9659-8862AF27AC87}"/>
    <dgm:cxn modelId="{3F4EE81D-6828-4514-9F69-971EE815E913}" srcId="{D0D0D1F0-6593-4F77-A117-A6F63687C847}" destId="{2BF40411-C4C7-47E7-A1B5-43A19D37EE0E}" srcOrd="1" destOrd="0" parTransId="{AB1156D9-1B36-4951-B650-04290E6FEE32}" sibTransId="{EFE02CC9-4E05-437D-90B3-A69887EDD5A3}"/>
    <dgm:cxn modelId="{C9459C27-8DD2-444B-879D-00A681A1B02A}" type="presOf" srcId="{C2F80E1F-6628-477E-8243-650D05AC1153}" destId="{00CF4A83-DEB6-4C79-A309-E1F6386EADA4}" srcOrd="0" destOrd="0" presId="urn:microsoft.com/office/officeart/2005/8/layout/vList5"/>
    <dgm:cxn modelId="{437B7035-D72C-43CC-AF99-173C631F6B0C}" type="presOf" srcId="{2BF40411-C4C7-47E7-A1B5-43A19D37EE0E}" destId="{6611B5D6-ABA5-419E-B96D-0DE591D8C5FE}" srcOrd="0" destOrd="0" presId="urn:microsoft.com/office/officeart/2005/8/layout/vList5"/>
    <dgm:cxn modelId="{69E08542-4673-43BE-AC1B-39F458D54457}" type="presOf" srcId="{4ECCC43C-D0C1-44BB-BC93-DD447DED33EB}" destId="{EBFD211D-10BB-400E-BC0C-3BDFB2F913A8}" srcOrd="0" destOrd="2" presId="urn:microsoft.com/office/officeart/2005/8/layout/vList5"/>
    <dgm:cxn modelId="{6794B163-9A28-4A7C-8F59-EF2290271D5E}" srcId="{2BF40411-C4C7-47E7-A1B5-43A19D37EE0E}" destId="{C2F80E1F-6628-477E-8243-650D05AC1153}" srcOrd="0" destOrd="0" parTransId="{27FE5C79-7E8A-4566-8896-AE9525CC23F3}" sibTransId="{553E2425-0FFB-45A5-B7A6-EE9C96AE0A44}"/>
    <dgm:cxn modelId="{B6C92E70-74FE-468E-A9B9-5C5C29AED4B0}" type="presOf" srcId="{B6418E4E-003B-4691-B41A-34E015569CB3}" destId="{C17A61C0-9B07-499E-93CE-8DBF948A5B72}" srcOrd="0" destOrd="0" presId="urn:microsoft.com/office/officeart/2005/8/layout/vList5"/>
    <dgm:cxn modelId="{17F0B372-71D2-41BD-8893-7DB4FD8CD2F6}" type="presOf" srcId="{F1951E54-9E6E-4628-9C80-B38FFD0B2435}" destId="{EBFD211D-10BB-400E-BC0C-3BDFB2F913A8}" srcOrd="0" destOrd="0" presId="urn:microsoft.com/office/officeart/2005/8/layout/vList5"/>
    <dgm:cxn modelId="{28CF537D-988B-4039-9530-DF3757ADF455}" srcId="{B6418E4E-003B-4691-B41A-34E015569CB3}" destId="{4ECCC43C-D0C1-44BB-BC93-DD447DED33EB}" srcOrd="2" destOrd="0" parTransId="{64DC84BD-6DD4-42EA-B8B0-A85178FEFAF7}" sibTransId="{3CAA3943-6853-4BF9-9DD9-0FC3A4B87964}"/>
    <dgm:cxn modelId="{898C4B83-7F64-4F02-B13C-9CAC0D415769}" srcId="{D0D0D1F0-6593-4F77-A117-A6F63687C847}" destId="{B6418E4E-003B-4691-B41A-34E015569CB3}" srcOrd="0" destOrd="0" parTransId="{25ACF0B4-0B30-41F6-97A6-CFAC35833A2B}" sibTransId="{D7652A6F-46E1-4CFB-958C-E099AE2274B6}"/>
    <dgm:cxn modelId="{9BD3FC8B-BB34-4C1A-94C9-530570A6F8A3}" type="presOf" srcId="{B739AD5A-0DBC-4F93-B8B6-78A3FD305EC6}" destId="{00CF4A83-DEB6-4C79-A309-E1F6386EADA4}" srcOrd="0" destOrd="2" presId="urn:microsoft.com/office/officeart/2005/8/layout/vList5"/>
    <dgm:cxn modelId="{3FA4CD9A-627E-4231-8884-C2E94428D742}" type="presOf" srcId="{211B19DC-D5A5-4A01-A9EB-E9BF1C6231B3}" destId="{00CF4A83-DEB6-4C79-A309-E1F6386EADA4}" srcOrd="0" destOrd="1" presId="urn:microsoft.com/office/officeart/2005/8/layout/vList5"/>
    <dgm:cxn modelId="{A0DBBAA2-967D-4FEA-A4ED-5F29A55EB0E2}" type="presOf" srcId="{D12C46BC-89EC-41A0-B0B0-26EF8613136A}" destId="{00CF4A83-DEB6-4C79-A309-E1F6386EADA4}" srcOrd="0" destOrd="3" presId="urn:microsoft.com/office/officeart/2005/8/layout/vList5"/>
    <dgm:cxn modelId="{7DABD7B6-D0FC-4C1D-B27C-19903A4C4FC5}" srcId="{C2F80E1F-6628-477E-8243-650D05AC1153}" destId="{D12C46BC-89EC-41A0-B0B0-26EF8613136A}" srcOrd="2" destOrd="0" parTransId="{BDADECA5-18E5-424B-8327-6919469372EF}" sibTransId="{A9F7189A-D2E9-4261-8D4E-EA9CF6FBF52F}"/>
    <dgm:cxn modelId="{FCBB0BBF-1234-4325-AB51-62D93AA190B6}" type="presOf" srcId="{D0D0D1F0-6593-4F77-A117-A6F63687C847}" destId="{23890282-9A25-4F84-8477-BFE7FCB7F881}" srcOrd="0" destOrd="0" presId="urn:microsoft.com/office/officeart/2005/8/layout/vList5"/>
    <dgm:cxn modelId="{8DB5D4D1-7DBD-4EB4-8ED0-5DEE9CDCF52E}" srcId="{C2F80E1F-6628-477E-8243-650D05AC1153}" destId="{211B19DC-D5A5-4A01-A9EB-E9BF1C6231B3}" srcOrd="0" destOrd="0" parTransId="{2E277110-5B48-4F3A-9CC3-20BA78096625}" sibTransId="{FF6B3FA0-E971-48C0-822A-CDA708380DE9}"/>
    <dgm:cxn modelId="{400C87D8-33D9-4CD8-A3B3-29D57C7BD719}" type="presOf" srcId="{C598C45C-4963-4B62-B402-DD5A4BB5F082}" destId="{EBFD211D-10BB-400E-BC0C-3BDFB2F913A8}" srcOrd="0" destOrd="1" presId="urn:microsoft.com/office/officeart/2005/8/layout/vList5"/>
    <dgm:cxn modelId="{EC03B0FC-14B0-4174-B2DB-052BED736E1D}" srcId="{B6418E4E-003B-4691-B41A-34E015569CB3}" destId="{C598C45C-4963-4B62-B402-DD5A4BB5F082}" srcOrd="1" destOrd="0" parTransId="{0E899BD2-301C-4E61-8A62-EEB0DFAEEE8F}" sibTransId="{0D5F0143-754C-4698-9068-5FB0F093FD3B}"/>
    <dgm:cxn modelId="{DC09AE86-E17C-4C83-A49D-67BCF0D7ACB5}" type="presParOf" srcId="{23890282-9A25-4F84-8477-BFE7FCB7F881}" destId="{15B4DAEB-3AE4-4BF7-9685-2B2318A913A0}" srcOrd="0" destOrd="0" presId="urn:microsoft.com/office/officeart/2005/8/layout/vList5"/>
    <dgm:cxn modelId="{2E46D4AC-02EC-4AA5-914D-26869AD5DDF8}" type="presParOf" srcId="{15B4DAEB-3AE4-4BF7-9685-2B2318A913A0}" destId="{C17A61C0-9B07-499E-93CE-8DBF948A5B72}" srcOrd="0" destOrd="0" presId="urn:microsoft.com/office/officeart/2005/8/layout/vList5"/>
    <dgm:cxn modelId="{5FD9F2C1-CFB2-402B-8C58-4E2F2C717FAB}" type="presParOf" srcId="{15B4DAEB-3AE4-4BF7-9685-2B2318A913A0}" destId="{EBFD211D-10BB-400E-BC0C-3BDFB2F913A8}" srcOrd="1" destOrd="0" presId="urn:microsoft.com/office/officeart/2005/8/layout/vList5"/>
    <dgm:cxn modelId="{50E56945-57C5-4A72-BD0F-F5EBC89A4162}" type="presParOf" srcId="{23890282-9A25-4F84-8477-BFE7FCB7F881}" destId="{AF77CBDB-5AD4-4FF0-AAE4-7DA7BB7283CE}" srcOrd="1" destOrd="0" presId="urn:microsoft.com/office/officeart/2005/8/layout/vList5"/>
    <dgm:cxn modelId="{B93AE286-0687-4F6E-A675-3329C5FD14F7}" type="presParOf" srcId="{23890282-9A25-4F84-8477-BFE7FCB7F881}" destId="{9CE3F98D-3703-4808-B59E-E8AE31E27BE7}" srcOrd="2" destOrd="0" presId="urn:microsoft.com/office/officeart/2005/8/layout/vList5"/>
    <dgm:cxn modelId="{76ECE84A-01C5-4D04-93AC-5ECEE5EB6272}" type="presParOf" srcId="{9CE3F98D-3703-4808-B59E-E8AE31E27BE7}" destId="{6611B5D6-ABA5-419E-B96D-0DE591D8C5FE}" srcOrd="0" destOrd="0" presId="urn:microsoft.com/office/officeart/2005/8/layout/vList5"/>
    <dgm:cxn modelId="{C5C238E3-A62B-454F-8441-4092AA3AD3C6}" type="presParOf" srcId="{9CE3F98D-3703-4808-B59E-E8AE31E27BE7}" destId="{00CF4A83-DEB6-4C79-A309-E1F6386EADA4}"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66E6DFA-314E-4D95-BB89-0AAF59A1AE01}" type="doc">
      <dgm:prSet loTypeId="urn:microsoft.com/office/officeart/2016/7/layout/RepeatingBendingProcessNew" loCatId="process" qsTypeId="urn:microsoft.com/office/officeart/2005/8/quickstyle/simple1" qsCatId="simple" csTypeId="urn:microsoft.com/office/officeart/2005/8/colors/accent2_2" csCatId="accent2" phldr="1"/>
      <dgm:spPr/>
      <dgm:t>
        <a:bodyPr/>
        <a:lstStyle/>
        <a:p>
          <a:endParaRPr lang="en-US"/>
        </a:p>
      </dgm:t>
    </dgm:pt>
    <dgm:pt modelId="{51A7BD30-DF04-4C26-BB4E-C3E82F3A3665}">
      <dgm:prSet/>
      <dgm:spPr/>
      <dgm:t>
        <a:bodyPr/>
        <a:lstStyle/>
        <a:p>
          <a:r>
            <a:rPr lang="en-US" dirty="0"/>
            <a:t>Go to the Marketplace</a:t>
          </a:r>
        </a:p>
      </dgm:t>
    </dgm:pt>
    <dgm:pt modelId="{3FE19FD1-56F6-445F-B20E-74EEF680FB11}" type="parTrans" cxnId="{64EE4346-4A50-4F20-BAEA-58E3EAA73426}">
      <dgm:prSet/>
      <dgm:spPr/>
      <dgm:t>
        <a:bodyPr/>
        <a:lstStyle/>
        <a:p>
          <a:endParaRPr lang="en-US"/>
        </a:p>
      </dgm:t>
    </dgm:pt>
    <dgm:pt modelId="{CDA6EFEA-E7AF-4C46-9D4A-123B7B66AB11}" type="sibTrans" cxnId="{64EE4346-4A50-4F20-BAEA-58E3EAA73426}">
      <dgm:prSet/>
      <dgm:spPr/>
      <dgm:t>
        <a:bodyPr/>
        <a:lstStyle/>
        <a:p>
          <a:endParaRPr lang="en-US"/>
        </a:p>
      </dgm:t>
    </dgm:pt>
    <dgm:pt modelId="{9F994A07-CBDB-4575-822C-FB02FBD2328E}">
      <dgm:prSet/>
      <dgm:spPr/>
      <dgm:t>
        <a:bodyPr/>
        <a:lstStyle/>
        <a:p>
          <a:r>
            <a:rPr lang="en-US"/>
            <a:t>Use the Browse apps to select IT &amp; Management tools</a:t>
          </a:r>
        </a:p>
      </dgm:t>
    </dgm:pt>
    <dgm:pt modelId="{F800E026-8CC8-4206-AE55-A7EB109B5E48}" type="parTrans" cxnId="{196738C7-AA75-4FB5-B77F-6775048D6A56}">
      <dgm:prSet/>
      <dgm:spPr/>
      <dgm:t>
        <a:bodyPr/>
        <a:lstStyle/>
        <a:p>
          <a:endParaRPr lang="en-US"/>
        </a:p>
      </dgm:t>
    </dgm:pt>
    <dgm:pt modelId="{29B32662-4C99-493E-B016-2626713A417A}" type="sibTrans" cxnId="{196738C7-AA75-4FB5-B77F-6775048D6A56}">
      <dgm:prSet/>
      <dgm:spPr/>
      <dgm:t>
        <a:bodyPr/>
        <a:lstStyle/>
        <a:p>
          <a:endParaRPr lang="en-US"/>
        </a:p>
      </dgm:t>
    </dgm:pt>
    <dgm:pt modelId="{330916E7-6F3E-45D2-A2BC-13FDA0EB0666}">
      <dgm:prSet/>
      <dgm:spPr/>
      <dgm:t>
        <a:bodyPr/>
        <a:lstStyle/>
        <a:p>
          <a:r>
            <a:rPr lang="en-US"/>
            <a:t>Filter the Operating System to Windows</a:t>
          </a:r>
        </a:p>
      </dgm:t>
    </dgm:pt>
    <dgm:pt modelId="{6F383D3A-2732-448B-BF92-5326B3889DAC}" type="parTrans" cxnId="{8F43C4A7-9118-4D92-B0B2-A58A09E532AC}">
      <dgm:prSet/>
      <dgm:spPr/>
      <dgm:t>
        <a:bodyPr/>
        <a:lstStyle/>
        <a:p>
          <a:endParaRPr lang="en-US"/>
        </a:p>
      </dgm:t>
    </dgm:pt>
    <dgm:pt modelId="{1A955E01-BC88-4F07-B68E-35A0837419F3}" type="sibTrans" cxnId="{8F43C4A7-9118-4D92-B0B2-A58A09E532AC}">
      <dgm:prSet/>
      <dgm:spPr/>
      <dgm:t>
        <a:bodyPr/>
        <a:lstStyle/>
        <a:p>
          <a:endParaRPr lang="en-US"/>
        </a:p>
      </dgm:t>
    </dgm:pt>
    <dgm:pt modelId="{CD9183D1-08A5-43CE-95ED-37E9E3726863}">
      <dgm:prSet/>
      <dgm:spPr/>
      <dgm:t>
        <a:bodyPr/>
        <a:lstStyle/>
        <a:p>
          <a:r>
            <a:rPr lang="en-US"/>
            <a:t>Filter the Pricing Model to Free</a:t>
          </a:r>
        </a:p>
      </dgm:t>
    </dgm:pt>
    <dgm:pt modelId="{D0EC23EA-8BB3-464F-BB10-5BF25412D983}" type="parTrans" cxnId="{4EF6BEB6-018A-4061-BA09-FE095163628B}">
      <dgm:prSet/>
      <dgm:spPr/>
      <dgm:t>
        <a:bodyPr/>
        <a:lstStyle/>
        <a:p>
          <a:endParaRPr lang="en-US"/>
        </a:p>
      </dgm:t>
    </dgm:pt>
    <dgm:pt modelId="{1D36450C-954F-4258-AA6F-A22092C7E213}" type="sibTrans" cxnId="{4EF6BEB6-018A-4061-BA09-FE095163628B}">
      <dgm:prSet/>
      <dgm:spPr/>
      <dgm:t>
        <a:bodyPr/>
        <a:lstStyle/>
        <a:p>
          <a:endParaRPr lang="en-US"/>
        </a:p>
      </dgm:t>
    </dgm:pt>
    <dgm:pt modelId="{646F5101-FAF7-43D9-A9DE-BC6F80DF1B48}">
      <dgm:prSet/>
      <dgm:spPr/>
      <dgm:t>
        <a:bodyPr/>
        <a:lstStyle/>
        <a:p>
          <a:r>
            <a:rPr lang="en-US"/>
            <a:t>Find an app</a:t>
          </a:r>
        </a:p>
      </dgm:t>
    </dgm:pt>
    <dgm:pt modelId="{8655A787-8E1D-43D9-815C-316E6F863A7B}" type="parTrans" cxnId="{B6E80507-BBCA-4176-AD16-A5F1BB498203}">
      <dgm:prSet/>
      <dgm:spPr/>
      <dgm:t>
        <a:bodyPr/>
        <a:lstStyle/>
        <a:p>
          <a:endParaRPr lang="en-US"/>
        </a:p>
      </dgm:t>
    </dgm:pt>
    <dgm:pt modelId="{71A47EEB-5954-4628-838E-A5CEF69F16DA}" type="sibTrans" cxnId="{B6E80507-BBCA-4176-AD16-A5F1BB498203}">
      <dgm:prSet/>
      <dgm:spPr/>
      <dgm:t>
        <a:bodyPr/>
        <a:lstStyle/>
        <a:p>
          <a:endParaRPr lang="en-US"/>
        </a:p>
      </dgm:t>
    </dgm:pt>
    <dgm:pt modelId="{B84BFD5D-263A-432D-85CC-6D488E7FC1A2}">
      <dgm:prSet/>
      <dgm:spPr/>
      <dgm:t>
        <a:bodyPr/>
        <a:lstStyle/>
        <a:p>
          <a:r>
            <a:rPr lang="en-US"/>
            <a:t>Mark it as a favorite</a:t>
          </a:r>
        </a:p>
      </dgm:t>
    </dgm:pt>
    <dgm:pt modelId="{AC79685A-A0D0-44DB-A248-80561CD2F1A9}" type="parTrans" cxnId="{B797DCEA-64A3-4A85-A82B-1B1AA78E92EB}">
      <dgm:prSet/>
      <dgm:spPr/>
      <dgm:t>
        <a:bodyPr/>
        <a:lstStyle/>
        <a:p>
          <a:endParaRPr lang="en-US"/>
        </a:p>
      </dgm:t>
    </dgm:pt>
    <dgm:pt modelId="{1E5B8A58-B8B6-4CB0-8135-7B2E2D0A4FB3}" type="sibTrans" cxnId="{B797DCEA-64A3-4A85-A82B-1B1AA78E92EB}">
      <dgm:prSet/>
      <dgm:spPr/>
      <dgm:t>
        <a:bodyPr/>
        <a:lstStyle/>
        <a:p>
          <a:endParaRPr lang="en-US"/>
        </a:p>
      </dgm:t>
    </dgm:pt>
    <dgm:pt modelId="{004167E4-0831-4C8C-AE98-19EC380185D3}" type="pres">
      <dgm:prSet presAssocID="{F66E6DFA-314E-4D95-BB89-0AAF59A1AE01}" presName="Name0" presStyleCnt="0">
        <dgm:presLayoutVars>
          <dgm:dir/>
          <dgm:resizeHandles val="exact"/>
        </dgm:presLayoutVars>
      </dgm:prSet>
      <dgm:spPr/>
    </dgm:pt>
    <dgm:pt modelId="{F445DC15-31BF-4C55-83B9-B0136CC587EE}" type="pres">
      <dgm:prSet presAssocID="{51A7BD30-DF04-4C26-BB4E-C3E82F3A3665}" presName="node" presStyleLbl="node1" presStyleIdx="0" presStyleCnt="6">
        <dgm:presLayoutVars>
          <dgm:bulletEnabled val="1"/>
        </dgm:presLayoutVars>
      </dgm:prSet>
      <dgm:spPr/>
    </dgm:pt>
    <dgm:pt modelId="{AC72A67E-F027-4D72-87B6-23EB78A0DEFE}" type="pres">
      <dgm:prSet presAssocID="{CDA6EFEA-E7AF-4C46-9D4A-123B7B66AB11}" presName="sibTrans" presStyleLbl="sibTrans1D1" presStyleIdx="0" presStyleCnt="5"/>
      <dgm:spPr/>
    </dgm:pt>
    <dgm:pt modelId="{8CE8474C-9912-44F9-86B8-A04BA38DDEEE}" type="pres">
      <dgm:prSet presAssocID="{CDA6EFEA-E7AF-4C46-9D4A-123B7B66AB11}" presName="connectorText" presStyleLbl="sibTrans1D1" presStyleIdx="0" presStyleCnt="5"/>
      <dgm:spPr/>
    </dgm:pt>
    <dgm:pt modelId="{EB354E04-058A-4AA4-85A8-7C138C55625A}" type="pres">
      <dgm:prSet presAssocID="{9F994A07-CBDB-4575-822C-FB02FBD2328E}" presName="node" presStyleLbl="node1" presStyleIdx="1" presStyleCnt="6">
        <dgm:presLayoutVars>
          <dgm:bulletEnabled val="1"/>
        </dgm:presLayoutVars>
      </dgm:prSet>
      <dgm:spPr/>
    </dgm:pt>
    <dgm:pt modelId="{2EFF4D28-6C6A-4B85-83C6-9CD2C53A2423}" type="pres">
      <dgm:prSet presAssocID="{29B32662-4C99-493E-B016-2626713A417A}" presName="sibTrans" presStyleLbl="sibTrans1D1" presStyleIdx="1" presStyleCnt="5"/>
      <dgm:spPr/>
    </dgm:pt>
    <dgm:pt modelId="{D59B9AE0-C297-490F-A2DF-412ABBFB99F4}" type="pres">
      <dgm:prSet presAssocID="{29B32662-4C99-493E-B016-2626713A417A}" presName="connectorText" presStyleLbl="sibTrans1D1" presStyleIdx="1" presStyleCnt="5"/>
      <dgm:spPr/>
    </dgm:pt>
    <dgm:pt modelId="{183043C8-3433-4F21-9078-6ED8653DBAD2}" type="pres">
      <dgm:prSet presAssocID="{330916E7-6F3E-45D2-A2BC-13FDA0EB0666}" presName="node" presStyleLbl="node1" presStyleIdx="2" presStyleCnt="6">
        <dgm:presLayoutVars>
          <dgm:bulletEnabled val="1"/>
        </dgm:presLayoutVars>
      </dgm:prSet>
      <dgm:spPr/>
    </dgm:pt>
    <dgm:pt modelId="{9C55E4F5-1522-458D-A6B7-A164F1E08114}" type="pres">
      <dgm:prSet presAssocID="{1A955E01-BC88-4F07-B68E-35A0837419F3}" presName="sibTrans" presStyleLbl="sibTrans1D1" presStyleIdx="2" presStyleCnt="5"/>
      <dgm:spPr/>
    </dgm:pt>
    <dgm:pt modelId="{322F11D8-E7FE-4E86-899E-CA469CD007D1}" type="pres">
      <dgm:prSet presAssocID="{1A955E01-BC88-4F07-B68E-35A0837419F3}" presName="connectorText" presStyleLbl="sibTrans1D1" presStyleIdx="2" presStyleCnt="5"/>
      <dgm:spPr/>
    </dgm:pt>
    <dgm:pt modelId="{DE462207-B980-4D00-8F94-90F97EA9412C}" type="pres">
      <dgm:prSet presAssocID="{CD9183D1-08A5-43CE-95ED-37E9E3726863}" presName="node" presStyleLbl="node1" presStyleIdx="3" presStyleCnt="6">
        <dgm:presLayoutVars>
          <dgm:bulletEnabled val="1"/>
        </dgm:presLayoutVars>
      </dgm:prSet>
      <dgm:spPr/>
    </dgm:pt>
    <dgm:pt modelId="{58EA2DB5-C91A-4AC2-836A-D2FBE795CA26}" type="pres">
      <dgm:prSet presAssocID="{1D36450C-954F-4258-AA6F-A22092C7E213}" presName="sibTrans" presStyleLbl="sibTrans1D1" presStyleIdx="3" presStyleCnt="5"/>
      <dgm:spPr/>
    </dgm:pt>
    <dgm:pt modelId="{FA15D500-943C-43CE-B0B8-08F14802A28A}" type="pres">
      <dgm:prSet presAssocID="{1D36450C-954F-4258-AA6F-A22092C7E213}" presName="connectorText" presStyleLbl="sibTrans1D1" presStyleIdx="3" presStyleCnt="5"/>
      <dgm:spPr/>
    </dgm:pt>
    <dgm:pt modelId="{5FDAE6CF-FDEA-41E3-B115-135907836B45}" type="pres">
      <dgm:prSet presAssocID="{646F5101-FAF7-43D9-A9DE-BC6F80DF1B48}" presName="node" presStyleLbl="node1" presStyleIdx="4" presStyleCnt="6">
        <dgm:presLayoutVars>
          <dgm:bulletEnabled val="1"/>
        </dgm:presLayoutVars>
      </dgm:prSet>
      <dgm:spPr/>
    </dgm:pt>
    <dgm:pt modelId="{0786F294-3133-4B99-AD7C-C385CF6EA7A7}" type="pres">
      <dgm:prSet presAssocID="{71A47EEB-5954-4628-838E-A5CEF69F16DA}" presName="sibTrans" presStyleLbl="sibTrans1D1" presStyleIdx="4" presStyleCnt="5"/>
      <dgm:spPr/>
    </dgm:pt>
    <dgm:pt modelId="{8875E442-4C0D-4F62-8B3C-9C8CFEB4ADB1}" type="pres">
      <dgm:prSet presAssocID="{71A47EEB-5954-4628-838E-A5CEF69F16DA}" presName="connectorText" presStyleLbl="sibTrans1D1" presStyleIdx="4" presStyleCnt="5"/>
      <dgm:spPr/>
    </dgm:pt>
    <dgm:pt modelId="{A8EA05AD-E3DC-4F8F-BDF0-1B3252899B3C}" type="pres">
      <dgm:prSet presAssocID="{B84BFD5D-263A-432D-85CC-6D488E7FC1A2}" presName="node" presStyleLbl="node1" presStyleIdx="5" presStyleCnt="6">
        <dgm:presLayoutVars>
          <dgm:bulletEnabled val="1"/>
        </dgm:presLayoutVars>
      </dgm:prSet>
      <dgm:spPr/>
    </dgm:pt>
  </dgm:ptLst>
  <dgm:cxnLst>
    <dgm:cxn modelId="{B6E80507-BBCA-4176-AD16-A5F1BB498203}" srcId="{F66E6DFA-314E-4D95-BB89-0AAF59A1AE01}" destId="{646F5101-FAF7-43D9-A9DE-BC6F80DF1B48}" srcOrd="4" destOrd="0" parTransId="{8655A787-8E1D-43D9-815C-316E6F863A7B}" sibTransId="{71A47EEB-5954-4628-838E-A5CEF69F16DA}"/>
    <dgm:cxn modelId="{BDA82D14-C8C9-46F5-90A6-C981D49A986A}" type="presOf" srcId="{CDA6EFEA-E7AF-4C46-9D4A-123B7B66AB11}" destId="{AC72A67E-F027-4D72-87B6-23EB78A0DEFE}" srcOrd="0" destOrd="0" presId="urn:microsoft.com/office/officeart/2016/7/layout/RepeatingBendingProcessNew"/>
    <dgm:cxn modelId="{9EA8DB15-DE51-4D81-A1DC-F313A59C1A53}" type="presOf" srcId="{29B32662-4C99-493E-B016-2626713A417A}" destId="{D59B9AE0-C297-490F-A2DF-412ABBFB99F4}" srcOrd="1" destOrd="0" presId="urn:microsoft.com/office/officeart/2016/7/layout/RepeatingBendingProcessNew"/>
    <dgm:cxn modelId="{E35AA929-8359-4846-8F65-FCF58A859FC7}" type="presOf" srcId="{71A47EEB-5954-4628-838E-A5CEF69F16DA}" destId="{0786F294-3133-4B99-AD7C-C385CF6EA7A7}" srcOrd="0" destOrd="0" presId="urn:microsoft.com/office/officeart/2016/7/layout/RepeatingBendingProcessNew"/>
    <dgm:cxn modelId="{92CDF631-9420-44EF-B0C1-C1F0E2FCCB2F}" type="presOf" srcId="{71A47EEB-5954-4628-838E-A5CEF69F16DA}" destId="{8875E442-4C0D-4F62-8B3C-9C8CFEB4ADB1}" srcOrd="1" destOrd="0" presId="urn:microsoft.com/office/officeart/2016/7/layout/RepeatingBendingProcessNew"/>
    <dgm:cxn modelId="{4E80D63F-6979-4D6A-BBC4-3EC28085A741}" type="presOf" srcId="{1A955E01-BC88-4F07-B68E-35A0837419F3}" destId="{322F11D8-E7FE-4E86-899E-CA469CD007D1}" srcOrd="1" destOrd="0" presId="urn:microsoft.com/office/officeart/2016/7/layout/RepeatingBendingProcessNew"/>
    <dgm:cxn modelId="{64EE4346-4A50-4F20-BAEA-58E3EAA73426}" srcId="{F66E6DFA-314E-4D95-BB89-0AAF59A1AE01}" destId="{51A7BD30-DF04-4C26-BB4E-C3E82F3A3665}" srcOrd="0" destOrd="0" parTransId="{3FE19FD1-56F6-445F-B20E-74EEF680FB11}" sibTransId="{CDA6EFEA-E7AF-4C46-9D4A-123B7B66AB11}"/>
    <dgm:cxn modelId="{6C930D48-3DF8-4DBD-AA5A-447E78716EF4}" type="presOf" srcId="{29B32662-4C99-493E-B016-2626713A417A}" destId="{2EFF4D28-6C6A-4B85-83C6-9CD2C53A2423}" srcOrd="0" destOrd="0" presId="urn:microsoft.com/office/officeart/2016/7/layout/RepeatingBendingProcessNew"/>
    <dgm:cxn modelId="{B127A772-C6C1-4183-96EB-21CFD911F502}" type="presOf" srcId="{1A955E01-BC88-4F07-B68E-35A0837419F3}" destId="{9C55E4F5-1522-458D-A6B7-A164F1E08114}" srcOrd="0" destOrd="0" presId="urn:microsoft.com/office/officeart/2016/7/layout/RepeatingBendingProcessNew"/>
    <dgm:cxn modelId="{B2EE7782-B077-4AB2-980A-3C64E4672278}" type="presOf" srcId="{1D36450C-954F-4258-AA6F-A22092C7E213}" destId="{FA15D500-943C-43CE-B0B8-08F14802A28A}" srcOrd="1" destOrd="0" presId="urn:microsoft.com/office/officeart/2016/7/layout/RepeatingBendingProcessNew"/>
    <dgm:cxn modelId="{BDB3E683-17D9-4FAB-9CD5-E4E4CFB0B8D4}" type="presOf" srcId="{CDA6EFEA-E7AF-4C46-9D4A-123B7B66AB11}" destId="{8CE8474C-9912-44F9-86B8-A04BA38DDEEE}" srcOrd="1" destOrd="0" presId="urn:microsoft.com/office/officeart/2016/7/layout/RepeatingBendingProcessNew"/>
    <dgm:cxn modelId="{C710DB85-347E-439E-AAB6-98BF1E86CB2E}" type="presOf" srcId="{F66E6DFA-314E-4D95-BB89-0AAF59A1AE01}" destId="{004167E4-0831-4C8C-AE98-19EC380185D3}" srcOrd="0" destOrd="0" presId="urn:microsoft.com/office/officeart/2016/7/layout/RepeatingBendingProcessNew"/>
    <dgm:cxn modelId="{6A12F786-5A23-40B3-9FB8-8FD579FF3970}" type="presOf" srcId="{1D36450C-954F-4258-AA6F-A22092C7E213}" destId="{58EA2DB5-C91A-4AC2-836A-D2FBE795CA26}" srcOrd="0" destOrd="0" presId="urn:microsoft.com/office/officeart/2016/7/layout/RepeatingBendingProcessNew"/>
    <dgm:cxn modelId="{8F43C4A7-9118-4D92-B0B2-A58A09E532AC}" srcId="{F66E6DFA-314E-4D95-BB89-0AAF59A1AE01}" destId="{330916E7-6F3E-45D2-A2BC-13FDA0EB0666}" srcOrd="2" destOrd="0" parTransId="{6F383D3A-2732-448B-BF92-5326B3889DAC}" sibTransId="{1A955E01-BC88-4F07-B68E-35A0837419F3}"/>
    <dgm:cxn modelId="{4EF6BEB6-018A-4061-BA09-FE095163628B}" srcId="{F66E6DFA-314E-4D95-BB89-0AAF59A1AE01}" destId="{CD9183D1-08A5-43CE-95ED-37E9E3726863}" srcOrd="3" destOrd="0" parTransId="{D0EC23EA-8BB3-464F-BB10-5BF25412D983}" sibTransId="{1D36450C-954F-4258-AA6F-A22092C7E213}"/>
    <dgm:cxn modelId="{B7CE19B8-4C1B-4408-920B-A020C27DAB5F}" type="presOf" srcId="{51A7BD30-DF04-4C26-BB4E-C3E82F3A3665}" destId="{F445DC15-31BF-4C55-83B9-B0136CC587EE}" srcOrd="0" destOrd="0" presId="urn:microsoft.com/office/officeart/2016/7/layout/RepeatingBendingProcessNew"/>
    <dgm:cxn modelId="{238A4BBB-5BDF-40A1-BAAE-9AAE1A5E64B4}" type="presOf" srcId="{330916E7-6F3E-45D2-A2BC-13FDA0EB0666}" destId="{183043C8-3433-4F21-9078-6ED8653DBAD2}" srcOrd="0" destOrd="0" presId="urn:microsoft.com/office/officeart/2016/7/layout/RepeatingBendingProcessNew"/>
    <dgm:cxn modelId="{196738C7-AA75-4FB5-B77F-6775048D6A56}" srcId="{F66E6DFA-314E-4D95-BB89-0AAF59A1AE01}" destId="{9F994A07-CBDB-4575-822C-FB02FBD2328E}" srcOrd="1" destOrd="0" parTransId="{F800E026-8CC8-4206-AE55-A7EB109B5E48}" sibTransId="{29B32662-4C99-493E-B016-2626713A417A}"/>
    <dgm:cxn modelId="{636376C7-86F5-41F0-B55F-70A650641193}" type="presOf" srcId="{B84BFD5D-263A-432D-85CC-6D488E7FC1A2}" destId="{A8EA05AD-E3DC-4F8F-BDF0-1B3252899B3C}" srcOrd="0" destOrd="0" presId="urn:microsoft.com/office/officeart/2016/7/layout/RepeatingBendingProcessNew"/>
    <dgm:cxn modelId="{7507CCD3-9B2A-4A03-A493-98EFC3162F19}" type="presOf" srcId="{646F5101-FAF7-43D9-A9DE-BC6F80DF1B48}" destId="{5FDAE6CF-FDEA-41E3-B115-135907836B45}" srcOrd="0" destOrd="0" presId="urn:microsoft.com/office/officeart/2016/7/layout/RepeatingBendingProcessNew"/>
    <dgm:cxn modelId="{B797DCEA-64A3-4A85-A82B-1B1AA78E92EB}" srcId="{F66E6DFA-314E-4D95-BB89-0AAF59A1AE01}" destId="{B84BFD5D-263A-432D-85CC-6D488E7FC1A2}" srcOrd="5" destOrd="0" parTransId="{AC79685A-A0D0-44DB-A248-80561CD2F1A9}" sibTransId="{1E5B8A58-B8B6-4CB0-8135-7B2E2D0A4FB3}"/>
    <dgm:cxn modelId="{388330EC-1FB5-4FC9-AB71-7C8990D2A6C1}" type="presOf" srcId="{9F994A07-CBDB-4575-822C-FB02FBD2328E}" destId="{EB354E04-058A-4AA4-85A8-7C138C55625A}" srcOrd="0" destOrd="0" presId="urn:microsoft.com/office/officeart/2016/7/layout/RepeatingBendingProcessNew"/>
    <dgm:cxn modelId="{28D3D7F4-AC2A-4C89-8634-9B0E8D7D6EB4}" type="presOf" srcId="{CD9183D1-08A5-43CE-95ED-37E9E3726863}" destId="{DE462207-B980-4D00-8F94-90F97EA9412C}" srcOrd="0" destOrd="0" presId="urn:microsoft.com/office/officeart/2016/7/layout/RepeatingBendingProcessNew"/>
    <dgm:cxn modelId="{38420A40-C2B7-4CF7-AAA1-CA71D0BFB5CB}" type="presParOf" srcId="{004167E4-0831-4C8C-AE98-19EC380185D3}" destId="{F445DC15-31BF-4C55-83B9-B0136CC587EE}" srcOrd="0" destOrd="0" presId="urn:microsoft.com/office/officeart/2016/7/layout/RepeatingBendingProcessNew"/>
    <dgm:cxn modelId="{A763C4E7-DD32-4C44-86C6-331882F2A5D9}" type="presParOf" srcId="{004167E4-0831-4C8C-AE98-19EC380185D3}" destId="{AC72A67E-F027-4D72-87B6-23EB78A0DEFE}" srcOrd="1" destOrd="0" presId="urn:microsoft.com/office/officeart/2016/7/layout/RepeatingBendingProcessNew"/>
    <dgm:cxn modelId="{FAE51C13-4A76-4BA1-8A7B-840A92563AC3}" type="presParOf" srcId="{AC72A67E-F027-4D72-87B6-23EB78A0DEFE}" destId="{8CE8474C-9912-44F9-86B8-A04BA38DDEEE}" srcOrd="0" destOrd="0" presId="urn:microsoft.com/office/officeart/2016/7/layout/RepeatingBendingProcessNew"/>
    <dgm:cxn modelId="{A04D09A4-6E91-4EDA-86CD-F06C2FFEF9E2}" type="presParOf" srcId="{004167E4-0831-4C8C-AE98-19EC380185D3}" destId="{EB354E04-058A-4AA4-85A8-7C138C55625A}" srcOrd="2" destOrd="0" presId="urn:microsoft.com/office/officeart/2016/7/layout/RepeatingBendingProcessNew"/>
    <dgm:cxn modelId="{0323038D-2D2D-498B-A92B-27714682FAA9}" type="presParOf" srcId="{004167E4-0831-4C8C-AE98-19EC380185D3}" destId="{2EFF4D28-6C6A-4B85-83C6-9CD2C53A2423}" srcOrd="3" destOrd="0" presId="urn:microsoft.com/office/officeart/2016/7/layout/RepeatingBendingProcessNew"/>
    <dgm:cxn modelId="{E4F12C23-AE1E-42D5-B064-6916ED04BF29}" type="presParOf" srcId="{2EFF4D28-6C6A-4B85-83C6-9CD2C53A2423}" destId="{D59B9AE0-C297-490F-A2DF-412ABBFB99F4}" srcOrd="0" destOrd="0" presId="urn:microsoft.com/office/officeart/2016/7/layout/RepeatingBendingProcessNew"/>
    <dgm:cxn modelId="{18E77FDB-A424-416D-9F50-7A377912E4BE}" type="presParOf" srcId="{004167E4-0831-4C8C-AE98-19EC380185D3}" destId="{183043C8-3433-4F21-9078-6ED8653DBAD2}" srcOrd="4" destOrd="0" presId="urn:microsoft.com/office/officeart/2016/7/layout/RepeatingBendingProcessNew"/>
    <dgm:cxn modelId="{140A243B-473E-4DFB-AA27-DB59DD2B7FC4}" type="presParOf" srcId="{004167E4-0831-4C8C-AE98-19EC380185D3}" destId="{9C55E4F5-1522-458D-A6B7-A164F1E08114}" srcOrd="5" destOrd="0" presId="urn:microsoft.com/office/officeart/2016/7/layout/RepeatingBendingProcessNew"/>
    <dgm:cxn modelId="{7AF7AC57-D442-48C6-97CA-B1C74FE09A4C}" type="presParOf" srcId="{9C55E4F5-1522-458D-A6B7-A164F1E08114}" destId="{322F11D8-E7FE-4E86-899E-CA469CD007D1}" srcOrd="0" destOrd="0" presId="urn:microsoft.com/office/officeart/2016/7/layout/RepeatingBendingProcessNew"/>
    <dgm:cxn modelId="{55C7AEB9-4BE6-4733-AD56-9BDA6A864E7C}" type="presParOf" srcId="{004167E4-0831-4C8C-AE98-19EC380185D3}" destId="{DE462207-B980-4D00-8F94-90F97EA9412C}" srcOrd="6" destOrd="0" presId="urn:microsoft.com/office/officeart/2016/7/layout/RepeatingBendingProcessNew"/>
    <dgm:cxn modelId="{6C2D742C-7E29-4751-B54B-8395F477152A}" type="presParOf" srcId="{004167E4-0831-4C8C-AE98-19EC380185D3}" destId="{58EA2DB5-C91A-4AC2-836A-D2FBE795CA26}" srcOrd="7" destOrd="0" presId="urn:microsoft.com/office/officeart/2016/7/layout/RepeatingBendingProcessNew"/>
    <dgm:cxn modelId="{B7DEE43D-77A2-42E1-A830-511C32AFFB9F}" type="presParOf" srcId="{58EA2DB5-C91A-4AC2-836A-D2FBE795CA26}" destId="{FA15D500-943C-43CE-B0B8-08F14802A28A}" srcOrd="0" destOrd="0" presId="urn:microsoft.com/office/officeart/2016/7/layout/RepeatingBendingProcessNew"/>
    <dgm:cxn modelId="{B0464DC8-2BBA-4B66-9915-42D52B8AAB7F}" type="presParOf" srcId="{004167E4-0831-4C8C-AE98-19EC380185D3}" destId="{5FDAE6CF-FDEA-41E3-B115-135907836B45}" srcOrd="8" destOrd="0" presId="urn:microsoft.com/office/officeart/2016/7/layout/RepeatingBendingProcessNew"/>
    <dgm:cxn modelId="{874634C7-DC12-4EFD-8B13-383EFF59B643}" type="presParOf" srcId="{004167E4-0831-4C8C-AE98-19EC380185D3}" destId="{0786F294-3133-4B99-AD7C-C385CF6EA7A7}" srcOrd="9" destOrd="0" presId="urn:microsoft.com/office/officeart/2016/7/layout/RepeatingBendingProcessNew"/>
    <dgm:cxn modelId="{D755796B-A8EC-412E-A76E-F69AD110D737}" type="presParOf" srcId="{0786F294-3133-4B99-AD7C-C385CF6EA7A7}" destId="{8875E442-4C0D-4F62-8B3C-9C8CFEB4ADB1}" srcOrd="0" destOrd="0" presId="urn:microsoft.com/office/officeart/2016/7/layout/RepeatingBendingProcessNew"/>
    <dgm:cxn modelId="{9C2B7D1D-99B5-4D4D-B866-97E07695ED97}" type="presParOf" srcId="{004167E4-0831-4C8C-AE98-19EC380185D3}" destId="{A8EA05AD-E3DC-4F8F-BDF0-1B3252899B3C}" srcOrd="10" destOrd="0" presId="urn:microsoft.com/office/officeart/2016/7/layout/RepeatingBendingProcessNew"/>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602012C-6927-4603-B970-66C1203B1A67}" type="doc">
      <dgm:prSet loTypeId="urn:microsoft.com/office/officeart/2016/7/layout/RepeatingBendingProcessNew" loCatId="process" qsTypeId="urn:microsoft.com/office/officeart/2005/8/quickstyle/simple2" qsCatId="simple" csTypeId="urn:microsoft.com/office/officeart/2005/8/colors/accent2_2" csCatId="accent2"/>
      <dgm:spPr/>
      <dgm:t>
        <a:bodyPr/>
        <a:lstStyle/>
        <a:p>
          <a:endParaRPr lang="en-US"/>
        </a:p>
      </dgm:t>
    </dgm:pt>
    <dgm:pt modelId="{0880FAAA-8866-4B4D-B38C-30F65EC55ECC}">
      <dgm:prSet/>
      <dgm:spPr/>
      <dgm:t>
        <a:bodyPr/>
        <a:lstStyle/>
        <a:p>
          <a:r>
            <a:rPr lang="en-US"/>
            <a:t>Go to the Azure Marketplace</a:t>
          </a:r>
        </a:p>
      </dgm:t>
    </dgm:pt>
    <dgm:pt modelId="{6D70A7B7-419B-411D-8D70-7E603B1301E7}" type="parTrans" cxnId="{79E61448-2AB6-4CF8-943C-A23ED954FEB8}">
      <dgm:prSet/>
      <dgm:spPr/>
      <dgm:t>
        <a:bodyPr/>
        <a:lstStyle/>
        <a:p>
          <a:endParaRPr lang="en-US"/>
        </a:p>
      </dgm:t>
    </dgm:pt>
    <dgm:pt modelId="{28CF72FE-B63D-442E-BC98-9E1C0CFC103B}" type="sibTrans" cxnId="{79E61448-2AB6-4CF8-943C-A23ED954FEB8}">
      <dgm:prSet/>
      <dgm:spPr/>
      <dgm:t>
        <a:bodyPr/>
        <a:lstStyle/>
        <a:p>
          <a:endParaRPr lang="en-US"/>
        </a:p>
      </dgm:t>
    </dgm:pt>
    <dgm:pt modelId="{D3F3A093-7BF7-4389-B306-E521FB2252AE}">
      <dgm:prSet/>
      <dgm:spPr/>
      <dgm:t>
        <a:bodyPr/>
        <a:lstStyle/>
        <a:p>
          <a:r>
            <a:rPr lang="en-US"/>
            <a:t>Use the Browse apps to select Security</a:t>
          </a:r>
        </a:p>
      </dgm:t>
    </dgm:pt>
    <dgm:pt modelId="{6BCF5E4E-4D1D-4BB1-A536-DDC1F547180B}" type="parTrans" cxnId="{31506E10-2CAD-4FE1-A4A4-6CE5A84F4669}">
      <dgm:prSet/>
      <dgm:spPr/>
      <dgm:t>
        <a:bodyPr/>
        <a:lstStyle/>
        <a:p>
          <a:endParaRPr lang="en-US"/>
        </a:p>
      </dgm:t>
    </dgm:pt>
    <dgm:pt modelId="{04C2AE66-0506-495F-A194-9B268CBFEDD8}" type="sibTrans" cxnId="{31506E10-2CAD-4FE1-A4A4-6CE5A84F4669}">
      <dgm:prSet/>
      <dgm:spPr/>
      <dgm:t>
        <a:bodyPr/>
        <a:lstStyle/>
        <a:p>
          <a:endParaRPr lang="en-US"/>
        </a:p>
      </dgm:t>
    </dgm:pt>
    <dgm:pt modelId="{B628BE33-A104-47A1-A8A6-10C6382FCC35}">
      <dgm:prSet/>
      <dgm:spPr/>
      <dgm:t>
        <a:bodyPr/>
        <a:lstStyle/>
        <a:p>
          <a:r>
            <a:rPr lang="en-US"/>
            <a:t>Filter the Pricing Model to Pay as You Go</a:t>
          </a:r>
        </a:p>
      </dgm:t>
    </dgm:pt>
    <dgm:pt modelId="{6AE88D49-DB9B-4F5E-9D8C-D981A76C8486}" type="parTrans" cxnId="{654A35A8-13B1-4480-847E-82F82DA4877F}">
      <dgm:prSet/>
      <dgm:spPr/>
      <dgm:t>
        <a:bodyPr/>
        <a:lstStyle/>
        <a:p>
          <a:endParaRPr lang="en-US"/>
        </a:p>
      </dgm:t>
    </dgm:pt>
    <dgm:pt modelId="{A92A7F91-5BF2-4932-A7CF-D5CDD4CA713F}" type="sibTrans" cxnId="{654A35A8-13B1-4480-847E-82F82DA4877F}">
      <dgm:prSet/>
      <dgm:spPr/>
      <dgm:t>
        <a:bodyPr/>
        <a:lstStyle/>
        <a:p>
          <a:endParaRPr lang="en-US"/>
        </a:p>
      </dgm:t>
    </dgm:pt>
    <dgm:pt modelId="{8E5033CD-7383-4C60-A156-B88AD2580DD4}">
      <dgm:prSet/>
      <dgm:spPr/>
      <dgm:t>
        <a:bodyPr/>
        <a:lstStyle/>
        <a:p>
          <a:r>
            <a:rPr lang="en-US"/>
            <a:t>Find an app</a:t>
          </a:r>
        </a:p>
      </dgm:t>
    </dgm:pt>
    <dgm:pt modelId="{A0053A81-9FE4-4257-A7D7-1EB982722F90}" type="parTrans" cxnId="{D1FD8863-7BB3-406D-B629-A17CD7BE390C}">
      <dgm:prSet/>
      <dgm:spPr/>
      <dgm:t>
        <a:bodyPr/>
        <a:lstStyle/>
        <a:p>
          <a:endParaRPr lang="en-US"/>
        </a:p>
      </dgm:t>
    </dgm:pt>
    <dgm:pt modelId="{E831D9C8-C51B-48EC-A8F7-8114C1DF8ED7}" type="sibTrans" cxnId="{D1FD8863-7BB3-406D-B629-A17CD7BE390C}">
      <dgm:prSet/>
      <dgm:spPr/>
      <dgm:t>
        <a:bodyPr/>
        <a:lstStyle/>
        <a:p>
          <a:endParaRPr lang="en-US"/>
        </a:p>
      </dgm:t>
    </dgm:pt>
    <dgm:pt modelId="{468068F7-3291-4ECF-B370-2876FE6030E3}">
      <dgm:prSet/>
      <dgm:spPr/>
      <dgm:t>
        <a:bodyPr/>
        <a:lstStyle/>
        <a:p>
          <a:r>
            <a:rPr lang="en-US"/>
            <a:t>Mark it as a favorite</a:t>
          </a:r>
        </a:p>
      </dgm:t>
    </dgm:pt>
    <dgm:pt modelId="{30BF6699-0275-4761-8772-C864BCCBAB0B}" type="parTrans" cxnId="{30FBFA98-A27F-4D1F-B73C-6BFA2266CE24}">
      <dgm:prSet/>
      <dgm:spPr/>
      <dgm:t>
        <a:bodyPr/>
        <a:lstStyle/>
        <a:p>
          <a:endParaRPr lang="en-US"/>
        </a:p>
      </dgm:t>
    </dgm:pt>
    <dgm:pt modelId="{66794B9B-F72D-40F8-9F90-AF9A60DF9C1E}" type="sibTrans" cxnId="{30FBFA98-A27F-4D1F-B73C-6BFA2266CE24}">
      <dgm:prSet/>
      <dgm:spPr/>
      <dgm:t>
        <a:bodyPr/>
        <a:lstStyle/>
        <a:p>
          <a:endParaRPr lang="en-US"/>
        </a:p>
      </dgm:t>
    </dgm:pt>
    <dgm:pt modelId="{32682DAE-0832-4179-ABC1-FB1C8F7DDDF1}" type="pres">
      <dgm:prSet presAssocID="{5602012C-6927-4603-B970-66C1203B1A67}" presName="Name0" presStyleCnt="0">
        <dgm:presLayoutVars>
          <dgm:dir/>
          <dgm:resizeHandles val="exact"/>
        </dgm:presLayoutVars>
      </dgm:prSet>
      <dgm:spPr/>
    </dgm:pt>
    <dgm:pt modelId="{0390AEC8-994B-4FEA-B749-B4F6AEA6448F}" type="pres">
      <dgm:prSet presAssocID="{0880FAAA-8866-4B4D-B38C-30F65EC55ECC}" presName="node" presStyleLbl="node1" presStyleIdx="0" presStyleCnt="5">
        <dgm:presLayoutVars>
          <dgm:bulletEnabled val="1"/>
        </dgm:presLayoutVars>
      </dgm:prSet>
      <dgm:spPr/>
    </dgm:pt>
    <dgm:pt modelId="{C8B63662-A64F-4742-80BD-13B2EE6EE59A}" type="pres">
      <dgm:prSet presAssocID="{28CF72FE-B63D-442E-BC98-9E1C0CFC103B}" presName="sibTrans" presStyleLbl="sibTrans1D1" presStyleIdx="0" presStyleCnt="4"/>
      <dgm:spPr/>
    </dgm:pt>
    <dgm:pt modelId="{D2944B5E-936F-48EE-83EE-65813201D200}" type="pres">
      <dgm:prSet presAssocID="{28CF72FE-B63D-442E-BC98-9E1C0CFC103B}" presName="connectorText" presStyleLbl="sibTrans1D1" presStyleIdx="0" presStyleCnt="4"/>
      <dgm:spPr/>
    </dgm:pt>
    <dgm:pt modelId="{806819AA-FDB8-4EA3-B78D-CF20A4554C35}" type="pres">
      <dgm:prSet presAssocID="{D3F3A093-7BF7-4389-B306-E521FB2252AE}" presName="node" presStyleLbl="node1" presStyleIdx="1" presStyleCnt="5">
        <dgm:presLayoutVars>
          <dgm:bulletEnabled val="1"/>
        </dgm:presLayoutVars>
      </dgm:prSet>
      <dgm:spPr/>
    </dgm:pt>
    <dgm:pt modelId="{24ECAFEB-5CEC-4490-8822-77B62561BCA5}" type="pres">
      <dgm:prSet presAssocID="{04C2AE66-0506-495F-A194-9B268CBFEDD8}" presName="sibTrans" presStyleLbl="sibTrans1D1" presStyleIdx="1" presStyleCnt="4"/>
      <dgm:spPr/>
    </dgm:pt>
    <dgm:pt modelId="{61395805-6E91-4151-A76A-D2AB394888AB}" type="pres">
      <dgm:prSet presAssocID="{04C2AE66-0506-495F-A194-9B268CBFEDD8}" presName="connectorText" presStyleLbl="sibTrans1D1" presStyleIdx="1" presStyleCnt="4"/>
      <dgm:spPr/>
    </dgm:pt>
    <dgm:pt modelId="{CDFD5395-0CD3-43F5-A883-A3B288C2CF18}" type="pres">
      <dgm:prSet presAssocID="{B628BE33-A104-47A1-A8A6-10C6382FCC35}" presName="node" presStyleLbl="node1" presStyleIdx="2" presStyleCnt="5">
        <dgm:presLayoutVars>
          <dgm:bulletEnabled val="1"/>
        </dgm:presLayoutVars>
      </dgm:prSet>
      <dgm:spPr/>
    </dgm:pt>
    <dgm:pt modelId="{D76321F7-E2E7-4843-812A-6D47076374BF}" type="pres">
      <dgm:prSet presAssocID="{A92A7F91-5BF2-4932-A7CF-D5CDD4CA713F}" presName="sibTrans" presStyleLbl="sibTrans1D1" presStyleIdx="2" presStyleCnt="4"/>
      <dgm:spPr/>
    </dgm:pt>
    <dgm:pt modelId="{CDA6D0C4-300C-41AC-A813-1FF7CAEB278E}" type="pres">
      <dgm:prSet presAssocID="{A92A7F91-5BF2-4932-A7CF-D5CDD4CA713F}" presName="connectorText" presStyleLbl="sibTrans1D1" presStyleIdx="2" presStyleCnt="4"/>
      <dgm:spPr/>
    </dgm:pt>
    <dgm:pt modelId="{74A0A6FC-EE98-497B-8DFA-D675F5B6EC71}" type="pres">
      <dgm:prSet presAssocID="{8E5033CD-7383-4C60-A156-B88AD2580DD4}" presName="node" presStyleLbl="node1" presStyleIdx="3" presStyleCnt="5">
        <dgm:presLayoutVars>
          <dgm:bulletEnabled val="1"/>
        </dgm:presLayoutVars>
      </dgm:prSet>
      <dgm:spPr/>
    </dgm:pt>
    <dgm:pt modelId="{38EF6879-DAD1-4755-95CA-EF2AAD9E7166}" type="pres">
      <dgm:prSet presAssocID="{E831D9C8-C51B-48EC-A8F7-8114C1DF8ED7}" presName="sibTrans" presStyleLbl="sibTrans1D1" presStyleIdx="3" presStyleCnt="4"/>
      <dgm:spPr/>
    </dgm:pt>
    <dgm:pt modelId="{94303937-7C81-40C4-9973-7C1263D3B79F}" type="pres">
      <dgm:prSet presAssocID="{E831D9C8-C51B-48EC-A8F7-8114C1DF8ED7}" presName="connectorText" presStyleLbl="sibTrans1D1" presStyleIdx="3" presStyleCnt="4"/>
      <dgm:spPr/>
    </dgm:pt>
    <dgm:pt modelId="{B106E791-7769-43ED-8163-E2828C07A89A}" type="pres">
      <dgm:prSet presAssocID="{468068F7-3291-4ECF-B370-2876FE6030E3}" presName="node" presStyleLbl="node1" presStyleIdx="4" presStyleCnt="5">
        <dgm:presLayoutVars>
          <dgm:bulletEnabled val="1"/>
        </dgm:presLayoutVars>
      </dgm:prSet>
      <dgm:spPr/>
    </dgm:pt>
  </dgm:ptLst>
  <dgm:cxnLst>
    <dgm:cxn modelId="{31506E10-2CAD-4FE1-A4A4-6CE5A84F4669}" srcId="{5602012C-6927-4603-B970-66C1203B1A67}" destId="{D3F3A093-7BF7-4389-B306-E521FB2252AE}" srcOrd="1" destOrd="0" parTransId="{6BCF5E4E-4D1D-4BB1-A536-DDC1F547180B}" sibTransId="{04C2AE66-0506-495F-A194-9B268CBFEDD8}"/>
    <dgm:cxn modelId="{EC609E20-96C6-42B6-B850-28BAB0A72D91}" type="presOf" srcId="{0880FAAA-8866-4B4D-B38C-30F65EC55ECC}" destId="{0390AEC8-994B-4FEA-B749-B4F6AEA6448F}" srcOrd="0" destOrd="0" presId="urn:microsoft.com/office/officeart/2016/7/layout/RepeatingBendingProcessNew"/>
    <dgm:cxn modelId="{7767B128-7D31-4BCB-B99C-D16AE2D65419}" type="presOf" srcId="{A92A7F91-5BF2-4932-A7CF-D5CDD4CA713F}" destId="{D76321F7-E2E7-4843-812A-6D47076374BF}" srcOrd="0" destOrd="0" presId="urn:microsoft.com/office/officeart/2016/7/layout/RepeatingBendingProcessNew"/>
    <dgm:cxn modelId="{D1FD8863-7BB3-406D-B629-A17CD7BE390C}" srcId="{5602012C-6927-4603-B970-66C1203B1A67}" destId="{8E5033CD-7383-4C60-A156-B88AD2580DD4}" srcOrd="3" destOrd="0" parTransId="{A0053A81-9FE4-4257-A7D7-1EB982722F90}" sibTransId="{E831D9C8-C51B-48EC-A8F7-8114C1DF8ED7}"/>
    <dgm:cxn modelId="{88749266-3A81-4C9D-980F-DA1EF2397CAA}" type="presOf" srcId="{04C2AE66-0506-495F-A194-9B268CBFEDD8}" destId="{24ECAFEB-5CEC-4490-8822-77B62561BCA5}" srcOrd="0" destOrd="0" presId="urn:microsoft.com/office/officeart/2016/7/layout/RepeatingBendingProcessNew"/>
    <dgm:cxn modelId="{79E61448-2AB6-4CF8-943C-A23ED954FEB8}" srcId="{5602012C-6927-4603-B970-66C1203B1A67}" destId="{0880FAAA-8866-4B4D-B38C-30F65EC55ECC}" srcOrd="0" destOrd="0" parTransId="{6D70A7B7-419B-411D-8D70-7E603B1301E7}" sibTransId="{28CF72FE-B63D-442E-BC98-9E1C0CFC103B}"/>
    <dgm:cxn modelId="{6167445A-76BB-4170-ADDF-B8C440D49680}" type="presOf" srcId="{28CF72FE-B63D-442E-BC98-9E1C0CFC103B}" destId="{D2944B5E-936F-48EE-83EE-65813201D200}" srcOrd="1" destOrd="0" presId="urn:microsoft.com/office/officeart/2016/7/layout/RepeatingBendingProcessNew"/>
    <dgm:cxn modelId="{2C730586-700C-4FB6-9732-5E468E73F0D5}" type="presOf" srcId="{5602012C-6927-4603-B970-66C1203B1A67}" destId="{32682DAE-0832-4179-ABC1-FB1C8F7DDDF1}" srcOrd="0" destOrd="0" presId="urn:microsoft.com/office/officeart/2016/7/layout/RepeatingBendingProcessNew"/>
    <dgm:cxn modelId="{30FBFA98-A27F-4D1F-B73C-6BFA2266CE24}" srcId="{5602012C-6927-4603-B970-66C1203B1A67}" destId="{468068F7-3291-4ECF-B370-2876FE6030E3}" srcOrd="4" destOrd="0" parTransId="{30BF6699-0275-4761-8772-C864BCCBAB0B}" sibTransId="{66794B9B-F72D-40F8-9F90-AF9A60DF9C1E}"/>
    <dgm:cxn modelId="{A2C629A2-A474-4CFE-808A-4B761236AC57}" type="presOf" srcId="{D3F3A093-7BF7-4389-B306-E521FB2252AE}" destId="{806819AA-FDB8-4EA3-B78D-CF20A4554C35}" srcOrd="0" destOrd="0" presId="urn:microsoft.com/office/officeart/2016/7/layout/RepeatingBendingProcessNew"/>
    <dgm:cxn modelId="{372E64A4-E3BE-4BB3-930D-06988DF7BAE5}" type="presOf" srcId="{468068F7-3291-4ECF-B370-2876FE6030E3}" destId="{B106E791-7769-43ED-8163-E2828C07A89A}" srcOrd="0" destOrd="0" presId="urn:microsoft.com/office/officeart/2016/7/layout/RepeatingBendingProcessNew"/>
    <dgm:cxn modelId="{654A35A8-13B1-4480-847E-82F82DA4877F}" srcId="{5602012C-6927-4603-B970-66C1203B1A67}" destId="{B628BE33-A104-47A1-A8A6-10C6382FCC35}" srcOrd="2" destOrd="0" parTransId="{6AE88D49-DB9B-4F5E-9D8C-D981A76C8486}" sibTransId="{A92A7F91-5BF2-4932-A7CF-D5CDD4CA713F}"/>
    <dgm:cxn modelId="{CF6E9DAB-F7BA-4C7F-ACA3-3CDE7167F63F}" type="presOf" srcId="{8E5033CD-7383-4C60-A156-B88AD2580DD4}" destId="{74A0A6FC-EE98-497B-8DFA-D675F5B6EC71}" srcOrd="0" destOrd="0" presId="urn:microsoft.com/office/officeart/2016/7/layout/RepeatingBendingProcessNew"/>
    <dgm:cxn modelId="{313A4ABC-8DA5-4D48-8341-D45729C130E6}" type="presOf" srcId="{B628BE33-A104-47A1-A8A6-10C6382FCC35}" destId="{CDFD5395-0CD3-43F5-A883-A3B288C2CF18}" srcOrd="0" destOrd="0" presId="urn:microsoft.com/office/officeart/2016/7/layout/RepeatingBendingProcessNew"/>
    <dgm:cxn modelId="{315B50BF-7531-4441-9311-09B9953E7C1C}" type="presOf" srcId="{E831D9C8-C51B-48EC-A8F7-8114C1DF8ED7}" destId="{94303937-7C81-40C4-9973-7C1263D3B79F}" srcOrd="1" destOrd="0" presId="urn:microsoft.com/office/officeart/2016/7/layout/RepeatingBendingProcessNew"/>
    <dgm:cxn modelId="{11EAA8CD-C333-4938-B57D-1F55B9895FB8}" type="presOf" srcId="{A92A7F91-5BF2-4932-A7CF-D5CDD4CA713F}" destId="{CDA6D0C4-300C-41AC-A813-1FF7CAEB278E}" srcOrd="1" destOrd="0" presId="urn:microsoft.com/office/officeart/2016/7/layout/RepeatingBendingProcessNew"/>
    <dgm:cxn modelId="{2F25F8DE-3679-4A73-BA12-5934B950FA2F}" type="presOf" srcId="{28CF72FE-B63D-442E-BC98-9E1C0CFC103B}" destId="{C8B63662-A64F-4742-80BD-13B2EE6EE59A}" srcOrd="0" destOrd="0" presId="urn:microsoft.com/office/officeart/2016/7/layout/RepeatingBendingProcessNew"/>
    <dgm:cxn modelId="{78C9D5F4-F64C-438F-B7EB-056B964C8428}" type="presOf" srcId="{E831D9C8-C51B-48EC-A8F7-8114C1DF8ED7}" destId="{38EF6879-DAD1-4755-95CA-EF2AAD9E7166}" srcOrd="0" destOrd="0" presId="urn:microsoft.com/office/officeart/2016/7/layout/RepeatingBendingProcessNew"/>
    <dgm:cxn modelId="{1407D8FE-43E9-49FB-A8C5-385CDEC745E1}" type="presOf" srcId="{04C2AE66-0506-495F-A194-9B268CBFEDD8}" destId="{61395805-6E91-4151-A76A-D2AB394888AB}" srcOrd="1" destOrd="0" presId="urn:microsoft.com/office/officeart/2016/7/layout/RepeatingBendingProcessNew"/>
    <dgm:cxn modelId="{2DE89A84-8D6D-41A7-91B7-B6222E4ECD59}" type="presParOf" srcId="{32682DAE-0832-4179-ABC1-FB1C8F7DDDF1}" destId="{0390AEC8-994B-4FEA-B749-B4F6AEA6448F}" srcOrd="0" destOrd="0" presId="urn:microsoft.com/office/officeart/2016/7/layout/RepeatingBendingProcessNew"/>
    <dgm:cxn modelId="{26DEC8B3-90AF-4EAA-B21C-00F9F61F4BF0}" type="presParOf" srcId="{32682DAE-0832-4179-ABC1-FB1C8F7DDDF1}" destId="{C8B63662-A64F-4742-80BD-13B2EE6EE59A}" srcOrd="1" destOrd="0" presId="urn:microsoft.com/office/officeart/2016/7/layout/RepeatingBendingProcessNew"/>
    <dgm:cxn modelId="{20DE9697-3FC2-47EB-BBD8-08A6BC90A5E1}" type="presParOf" srcId="{C8B63662-A64F-4742-80BD-13B2EE6EE59A}" destId="{D2944B5E-936F-48EE-83EE-65813201D200}" srcOrd="0" destOrd="0" presId="urn:microsoft.com/office/officeart/2016/7/layout/RepeatingBendingProcessNew"/>
    <dgm:cxn modelId="{972EA84E-B82E-43E1-95FD-D3E061BF5E67}" type="presParOf" srcId="{32682DAE-0832-4179-ABC1-FB1C8F7DDDF1}" destId="{806819AA-FDB8-4EA3-B78D-CF20A4554C35}" srcOrd="2" destOrd="0" presId="urn:microsoft.com/office/officeart/2016/7/layout/RepeatingBendingProcessNew"/>
    <dgm:cxn modelId="{9D8F133A-1B12-4D04-BE5A-CF4B3B13950B}" type="presParOf" srcId="{32682DAE-0832-4179-ABC1-FB1C8F7DDDF1}" destId="{24ECAFEB-5CEC-4490-8822-77B62561BCA5}" srcOrd="3" destOrd="0" presId="urn:microsoft.com/office/officeart/2016/7/layout/RepeatingBendingProcessNew"/>
    <dgm:cxn modelId="{1B3CDFC3-0B65-4C37-BB56-361A4CC19C8A}" type="presParOf" srcId="{24ECAFEB-5CEC-4490-8822-77B62561BCA5}" destId="{61395805-6E91-4151-A76A-D2AB394888AB}" srcOrd="0" destOrd="0" presId="urn:microsoft.com/office/officeart/2016/7/layout/RepeatingBendingProcessNew"/>
    <dgm:cxn modelId="{4EAD9ECD-D445-41CE-AFEF-AF1668C1FA3D}" type="presParOf" srcId="{32682DAE-0832-4179-ABC1-FB1C8F7DDDF1}" destId="{CDFD5395-0CD3-43F5-A883-A3B288C2CF18}" srcOrd="4" destOrd="0" presId="urn:microsoft.com/office/officeart/2016/7/layout/RepeatingBendingProcessNew"/>
    <dgm:cxn modelId="{C36A0F9D-E813-4599-A2F0-960C00A49364}" type="presParOf" srcId="{32682DAE-0832-4179-ABC1-FB1C8F7DDDF1}" destId="{D76321F7-E2E7-4843-812A-6D47076374BF}" srcOrd="5" destOrd="0" presId="urn:microsoft.com/office/officeart/2016/7/layout/RepeatingBendingProcessNew"/>
    <dgm:cxn modelId="{F92AF4A9-F91F-4D43-8C7C-12D0196AE9FF}" type="presParOf" srcId="{D76321F7-E2E7-4843-812A-6D47076374BF}" destId="{CDA6D0C4-300C-41AC-A813-1FF7CAEB278E}" srcOrd="0" destOrd="0" presId="urn:microsoft.com/office/officeart/2016/7/layout/RepeatingBendingProcessNew"/>
    <dgm:cxn modelId="{E0EBE6ED-ACF0-4012-9DAF-0043043214AE}" type="presParOf" srcId="{32682DAE-0832-4179-ABC1-FB1C8F7DDDF1}" destId="{74A0A6FC-EE98-497B-8DFA-D675F5B6EC71}" srcOrd="6" destOrd="0" presId="urn:microsoft.com/office/officeart/2016/7/layout/RepeatingBendingProcessNew"/>
    <dgm:cxn modelId="{403C20B2-6DB7-4655-8E1B-C40C8C465901}" type="presParOf" srcId="{32682DAE-0832-4179-ABC1-FB1C8F7DDDF1}" destId="{38EF6879-DAD1-4755-95CA-EF2AAD9E7166}" srcOrd="7" destOrd="0" presId="urn:microsoft.com/office/officeart/2016/7/layout/RepeatingBendingProcessNew"/>
    <dgm:cxn modelId="{3BAC823A-C0DE-4371-A885-71EE715D7518}" type="presParOf" srcId="{38EF6879-DAD1-4755-95CA-EF2AAD9E7166}" destId="{94303937-7C81-40C4-9973-7C1263D3B79F}" srcOrd="0" destOrd="0" presId="urn:microsoft.com/office/officeart/2016/7/layout/RepeatingBendingProcessNew"/>
    <dgm:cxn modelId="{6E7C6DB0-0E55-4286-B109-C3B63121073A}" type="presParOf" srcId="{32682DAE-0832-4179-ABC1-FB1C8F7DDDF1}" destId="{B106E791-7769-43ED-8163-E2828C07A89A}" srcOrd="8" destOrd="0" presId="urn:microsoft.com/office/officeart/2016/7/layout/RepeatingBendingProcessNew"/>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7D742D4-8899-4302-B12B-31E818166DD9}" type="doc">
      <dgm:prSet loTypeId="urn:microsoft.com/office/officeart/2016/7/layout/RepeatingBendingProcessNew" loCatId="process" qsTypeId="urn:microsoft.com/office/officeart/2005/8/quickstyle/simple4" qsCatId="simple" csTypeId="urn:microsoft.com/office/officeart/2005/8/colors/accent3_2" csCatId="accent3" phldr="1"/>
      <dgm:spPr/>
      <dgm:t>
        <a:bodyPr/>
        <a:lstStyle/>
        <a:p>
          <a:endParaRPr lang="en-US"/>
        </a:p>
      </dgm:t>
    </dgm:pt>
    <dgm:pt modelId="{AFAD1D2C-C1CD-41AA-84C0-711DC114A24B}">
      <dgm:prSet/>
      <dgm:spPr/>
      <dgm:t>
        <a:bodyPr/>
        <a:lstStyle/>
        <a:p>
          <a:r>
            <a:rPr lang="en-US" dirty="0"/>
            <a:t>Go to the Marketplace</a:t>
          </a:r>
        </a:p>
      </dgm:t>
    </dgm:pt>
    <dgm:pt modelId="{35C1C187-9DA3-4357-ACE6-4985088CA5B0}" type="parTrans" cxnId="{7CF3279B-216F-422B-8FF6-79D070607C79}">
      <dgm:prSet/>
      <dgm:spPr/>
      <dgm:t>
        <a:bodyPr/>
        <a:lstStyle/>
        <a:p>
          <a:endParaRPr lang="en-US"/>
        </a:p>
      </dgm:t>
    </dgm:pt>
    <dgm:pt modelId="{5F73C7D2-AA83-4D7F-8E9F-8DEEB977026F}" type="sibTrans" cxnId="{7CF3279B-216F-422B-8FF6-79D070607C79}">
      <dgm:prSet phldrT="1" phldr="0"/>
      <dgm:spPr/>
      <dgm:t>
        <a:bodyPr/>
        <a:lstStyle/>
        <a:p>
          <a:r>
            <a:rPr lang="en-US"/>
            <a:t>1</a:t>
          </a:r>
        </a:p>
      </dgm:t>
    </dgm:pt>
    <dgm:pt modelId="{7A9A3C21-34FD-4BEB-9222-113BE94BD02C}">
      <dgm:prSet/>
      <dgm:spPr/>
      <dgm:t>
        <a:bodyPr/>
        <a:lstStyle/>
        <a:p>
          <a:r>
            <a:rPr lang="en-US"/>
            <a:t>Use the Browse apps to select Security</a:t>
          </a:r>
        </a:p>
      </dgm:t>
    </dgm:pt>
    <dgm:pt modelId="{6678E9FB-C082-48CC-997C-700D2E12E7E3}" type="parTrans" cxnId="{0EDF65EA-BA9B-40A4-AFFF-CB7EEE9FDFD6}">
      <dgm:prSet/>
      <dgm:spPr/>
      <dgm:t>
        <a:bodyPr/>
        <a:lstStyle/>
        <a:p>
          <a:endParaRPr lang="en-US"/>
        </a:p>
      </dgm:t>
    </dgm:pt>
    <dgm:pt modelId="{7CC981D7-7576-4E64-B9B1-BE0E42D619B3}" type="sibTrans" cxnId="{0EDF65EA-BA9B-40A4-AFFF-CB7EEE9FDFD6}">
      <dgm:prSet phldrT="2" phldr="0"/>
      <dgm:spPr/>
      <dgm:t>
        <a:bodyPr/>
        <a:lstStyle/>
        <a:p>
          <a:r>
            <a:rPr lang="en-US"/>
            <a:t>2</a:t>
          </a:r>
        </a:p>
      </dgm:t>
    </dgm:pt>
    <dgm:pt modelId="{05B24310-5EB2-4D48-9D11-D32F8773ECA9}">
      <dgm:prSet/>
      <dgm:spPr/>
      <dgm:t>
        <a:bodyPr/>
        <a:lstStyle/>
        <a:p>
          <a:r>
            <a:rPr lang="en-US"/>
            <a:t>Filter the Service Types to Assessment</a:t>
          </a:r>
        </a:p>
      </dgm:t>
    </dgm:pt>
    <dgm:pt modelId="{3CC7A903-0B4B-4C72-9C8D-25E3B20F068A}" type="parTrans" cxnId="{0831242F-BC6D-4680-AF6B-CAF5BC5E3105}">
      <dgm:prSet/>
      <dgm:spPr/>
      <dgm:t>
        <a:bodyPr/>
        <a:lstStyle/>
        <a:p>
          <a:endParaRPr lang="en-US"/>
        </a:p>
      </dgm:t>
    </dgm:pt>
    <dgm:pt modelId="{102D13EC-B457-4FDF-85B8-8FD9786D6995}" type="sibTrans" cxnId="{0831242F-BC6D-4680-AF6B-CAF5BC5E3105}">
      <dgm:prSet phldrT="3" phldr="0"/>
      <dgm:spPr/>
      <dgm:t>
        <a:bodyPr/>
        <a:lstStyle/>
        <a:p>
          <a:r>
            <a:rPr lang="en-US"/>
            <a:t>3</a:t>
          </a:r>
        </a:p>
      </dgm:t>
    </dgm:pt>
    <dgm:pt modelId="{85EAC69C-C35D-4951-8989-068B478F376C}">
      <dgm:prSet/>
      <dgm:spPr/>
      <dgm:t>
        <a:bodyPr/>
        <a:lstStyle/>
        <a:p>
          <a:r>
            <a:rPr lang="en-US"/>
            <a:t>Filter the Pricing Model to Free</a:t>
          </a:r>
        </a:p>
      </dgm:t>
    </dgm:pt>
    <dgm:pt modelId="{E6E904AE-AE21-4B48-AE48-1D3E95CF43B7}" type="parTrans" cxnId="{06C57716-D743-486B-A380-355B02E3D8FD}">
      <dgm:prSet/>
      <dgm:spPr/>
      <dgm:t>
        <a:bodyPr/>
        <a:lstStyle/>
        <a:p>
          <a:endParaRPr lang="en-US"/>
        </a:p>
      </dgm:t>
    </dgm:pt>
    <dgm:pt modelId="{6AEFF1A4-F07B-4F8C-93C4-1594A4235AC7}" type="sibTrans" cxnId="{06C57716-D743-486B-A380-355B02E3D8FD}">
      <dgm:prSet phldrT="4" phldr="0"/>
      <dgm:spPr/>
      <dgm:t>
        <a:bodyPr/>
        <a:lstStyle/>
        <a:p>
          <a:r>
            <a:rPr lang="en-US"/>
            <a:t>4</a:t>
          </a:r>
        </a:p>
      </dgm:t>
    </dgm:pt>
    <dgm:pt modelId="{EFC9EE0A-5316-4181-ACBC-407E6FF9474D}">
      <dgm:prSet/>
      <dgm:spPr/>
      <dgm:t>
        <a:bodyPr/>
        <a:lstStyle/>
        <a:p>
          <a:r>
            <a:rPr lang="en-US"/>
            <a:t>Find a consulting service</a:t>
          </a:r>
        </a:p>
      </dgm:t>
    </dgm:pt>
    <dgm:pt modelId="{2C924630-25F7-417D-8380-B14A2A34454A}" type="parTrans" cxnId="{099ECECF-5C24-42D5-AF52-9B08260C3EFD}">
      <dgm:prSet/>
      <dgm:spPr/>
      <dgm:t>
        <a:bodyPr/>
        <a:lstStyle/>
        <a:p>
          <a:endParaRPr lang="en-US"/>
        </a:p>
      </dgm:t>
    </dgm:pt>
    <dgm:pt modelId="{27D2D894-0637-4F7A-90FE-2D7F00CB7B5E}" type="sibTrans" cxnId="{099ECECF-5C24-42D5-AF52-9B08260C3EFD}">
      <dgm:prSet phldrT="5" phldr="0"/>
      <dgm:spPr/>
      <dgm:t>
        <a:bodyPr/>
        <a:lstStyle/>
        <a:p>
          <a:r>
            <a:rPr lang="en-US"/>
            <a:t>5</a:t>
          </a:r>
        </a:p>
      </dgm:t>
    </dgm:pt>
    <dgm:pt modelId="{715451EB-2BC4-4C69-8DC6-A9019D71A198}">
      <dgm:prSet/>
      <dgm:spPr/>
      <dgm:t>
        <a:bodyPr/>
        <a:lstStyle/>
        <a:p>
          <a:r>
            <a:rPr lang="en-US"/>
            <a:t>Mark it as a favorite</a:t>
          </a:r>
        </a:p>
      </dgm:t>
    </dgm:pt>
    <dgm:pt modelId="{D6D32BFC-37E8-4668-9F06-B8DDAACE250C}" type="parTrans" cxnId="{65EF7E56-47C6-4193-8ABD-3D0564B88655}">
      <dgm:prSet/>
      <dgm:spPr/>
      <dgm:t>
        <a:bodyPr/>
        <a:lstStyle/>
        <a:p>
          <a:endParaRPr lang="en-US"/>
        </a:p>
      </dgm:t>
    </dgm:pt>
    <dgm:pt modelId="{194854CF-829A-46D6-9B1D-E97CDE62EB01}" type="sibTrans" cxnId="{65EF7E56-47C6-4193-8ABD-3D0564B88655}">
      <dgm:prSet phldrT="6" phldr="0"/>
      <dgm:spPr/>
      <dgm:t>
        <a:bodyPr/>
        <a:lstStyle/>
        <a:p>
          <a:endParaRPr lang="en-US"/>
        </a:p>
      </dgm:t>
    </dgm:pt>
    <dgm:pt modelId="{11B0CD00-B819-416C-8881-CAB71B6E586B}" type="pres">
      <dgm:prSet presAssocID="{C7D742D4-8899-4302-B12B-31E818166DD9}" presName="Name0" presStyleCnt="0">
        <dgm:presLayoutVars>
          <dgm:dir/>
          <dgm:resizeHandles val="exact"/>
        </dgm:presLayoutVars>
      </dgm:prSet>
      <dgm:spPr/>
    </dgm:pt>
    <dgm:pt modelId="{0DD83287-1354-4032-AC79-D31A005BECD9}" type="pres">
      <dgm:prSet presAssocID="{AFAD1D2C-C1CD-41AA-84C0-711DC114A24B}" presName="node" presStyleLbl="node1" presStyleIdx="0" presStyleCnt="6">
        <dgm:presLayoutVars>
          <dgm:bulletEnabled val="1"/>
        </dgm:presLayoutVars>
      </dgm:prSet>
      <dgm:spPr/>
    </dgm:pt>
    <dgm:pt modelId="{EC037EE7-7DAD-401E-A647-BA2223688587}" type="pres">
      <dgm:prSet presAssocID="{5F73C7D2-AA83-4D7F-8E9F-8DEEB977026F}" presName="sibTrans" presStyleLbl="sibTrans1D1" presStyleIdx="0" presStyleCnt="5"/>
      <dgm:spPr/>
    </dgm:pt>
    <dgm:pt modelId="{2ABB078A-6DD2-48D0-8D61-DF78040BA333}" type="pres">
      <dgm:prSet presAssocID="{5F73C7D2-AA83-4D7F-8E9F-8DEEB977026F}" presName="connectorText" presStyleLbl="sibTrans1D1" presStyleIdx="0" presStyleCnt="5"/>
      <dgm:spPr/>
    </dgm:pt>
    <dgm:pt modelId="{D506B59F-90AC-4849-B0F0-D22110039739}" type="pres">
      <dgm:prSet presAssocID="{7A9A3C21-34FD-4BEB-9222-113BE94BD02C}" presName="node" presStyleLbl="node1" presStyleIdx="1" presStyleCnt="6">
        <dgm:presLayoutVars>
          <dgm:bulletEnabled val="1"/>
        </dgm:presLayoutVars>
      </dgm:prSet>
      <dgm:spPr/>
    </dgm:pt>
    <dgm:pt modelId="{760C35F8-5D9D-4415-B97B-6DB55E3450E7}" type="pres">
      <dgm:prSet presAssocID="{7CC981D7-7576-4E64-B9B1-BE0E42D619B3}" presName="sibTrans" presStyleLbl="sibTrans1D1" presStyleIdx="1" presStyleCnt="5"/>
      <dgm:spPr/>
    </dgm:pt>
    <dgm:pt modelId="{5B5E2569-04AC-4D51-BF39-7D4A638FC05B}" type="pres">
      <dgm:prSet presAssocID="{7CC981D7-7576-4E64-B9B1-BE0E42D619B3}" presName="connectorText" presStyleLbl="sibTrans1D1" presStyleIdx="1" presStyleCnt="5"/>
      <dgm:spPr/>
    </dgm:pt>
    <dgm:pt modelId="{1A1D4672-1836-4676-B75F-50F0B9B32C78}" type="pres">
      <dgm:prSet presAssocID="{05B24310-5EB2-4D48-9D11-D32F8773ECA9}" presName="node" presStyleLbl="node1" presStyleIdx="2" presStyleCnt="6">
        <dgm:presLayoutVars>
          <dgm:bulletEnabled val="1"/>
        </dgm:presLayoutVars>
      </dgm:prSet>
      <dgm:spPr/>
    </dgm:pt>
    <dgm:pt modelId="{85CF5366-BFF1-4E36-AE72-16DC499C11E5}" type="pres">
      <dgm:prSet presAssocID="{102D13EC-B457-4FDF-85B8-8FD9786D6995}" presName="sibTrans" presStyleLbl="sibTrans1D1" presStyleIdx="2" presStyleCnt="5"/>
      <dgm:spPr/>
    </dgm:pt>
    <dgm:pt modelId="{0E7C7C8B-9660-4A4C-ACC9-F5A64D541570}" type="pres">
      <dgm:prSet presAssocID="{102D13EC-B457-4FDF-85B8-8FD9786D6995}" presName="connectorText" presStyleLbl="sibTrans1D1" presStyleIdx="2" presStyleCnt="5"/>
      <dgm:spPr/>
    </dgm:pt>
    <dgm:pt modelId="{0AC1AE17-963B-40DB-9338-9942976DD3F0}" type="pres">
      <dgm:prSet presAssocID="{85EAC69C-C35D-4951-8989-068B478F376C}" presName="node" presStyleLbl="node1" presStyleIdx="3" presStyleCnt="6">
        <dgm:presLayoutVars>
          <dgm:bulletEnabled val="1"/>
        </dgm:presLayoutVars>
      </dgm:prSet>
      <dgm:spPr/>
    </dgm:pt>
    <dgm:pt modelId="{88581CB4-3B0A-4B05-83E3-A1BE183169CF}" type="pres">
      <dgm:prSet presAssocID="{6AEFF1A4-F07B-4F8C-93C4-1594A4235AC7}" presName="sibTrans" presStyleLbl="sibTrans1D1" presStyleIdx="3" presStyleCnt="5"/>
      <dgm:spPr/>
    </dgm:pt>
    <dgm:pt modelId="{FD30ABB2-9E7E-4CE6-AF67-3BA991F53369}" type="pres">
      <dgm:prSet presAssocID="{6AEFF1A4-F07B-4F8C-93C4-1594A4235AC7}" presName="connectorText" presStyleLbl="sibTrans1D1" presStyleIdx="3" presStyleCnt="5"/>
      <dgm:spPr/>
    </dgm:pt>
    <dgm:pt modelId="{134C389A-8072-43E0-BD43-C6E317D29A1A}" type="pres">
      <dgm:prSet presAssocID="{EFC9EE0A-5316-4181-ACBC-407E6FF9474D}" presName="node" presStyleLbl="node1" presStyleIdx="4" presStyleCnt="6">
        <dgm:presLayoutVars>
          <dgm:bulletEnabled val="1"/>
        </dgm:presLayoutVars>
      </dgm:prSet>
      <dgm:spPr/>
    </dgm:pt>
    <dgm:pt modelId="{3A54A1EE-0C57-41B4-9ADC-C018D8D71E58}" type="pres">
      <dgm:prSet presAssocID="{27D2D894-0637-4F7A-90FE-2D7F00CB7B5E}" presName="sibTrans" presStyleLbl="sibTrans1D1" presStyleIdx="4" presStyleCnt="5"/>
      <dgm:spPr/>
    </dgm:pt>
    <dgm:pt modelId="{F905EF13-458A-47AE-8719-FEA321EFB013}" type="pres">
      <dgm:prSet presAssocID="{27D2D894-0637-4F7A-90FE-2D7F00CB7B5E}" presName="connectorText" presStyleLbl="sibTrans1D1" presStyleIdx="4" presStyleCnt="5"/>
      <dgm:spPr/>
    </dgm:pt>
    <dgm:pt modelId="{E600DE75-2E7F-43D8-9A3A-233094BE11A1}" type="pres">
      <dgm:prSet presAssocID="{715451EB-2BC4-4C69-8DC6-A9019D71A198}" presName="node" presStyleLbl="node1" presStyleIdx="5" presStyleCnt="6">
        <dgm:presLayoutVars>
          <dgm:bulletEnabled val="1"/>
        </dgm:presLayoutVars>
      </dgm:prSet>
      <dgm:spPr/>
    </dgm:pt>
  </dgm:ptLst>
  <dgm:cxnLst>
    <dgm:cxn modelId="{06C57716-D743-486B-A380-355B02E3D8FD}" srcId="{C7D742D4-8899-4302-B12B-31E818166DD9}" destId="{85EAC69C-C35D-4951-8989-068B478F376C}" srcOrd="3" destOrd="0" parTransId="{E6E904AE-AE21-4B48-AE48-1D3E95CF43B7}" sibTransId="{6AEFF1A4-F07B-4F8C-93C4-1594A4235AC7}"/>
    <dgm:cxn modelId="{7892E217-80B1-43E5-9F03-A85ABF6A181D}" type="presOf" srcId="{7A9A3C21-34FD-4BEB-9222-113BE94BD02C}" destId="{D506B59F-90AC-4849-B0F0-D22110039739}" srcOrd="0" destOrd="0" presId="urn:microsoft.com/office/officeart/2016/7/layout/RepeatingBendingProcessNew"/>
    <dgm:cxn modelId="{2F1F1123-BFDA-48D5-A893-A71E42272FE3}" type="presOf" srcId="{05B24310-5EB2-4D48-9D11-D32F8773ECA9}" destId="{1A1D4672-1836-4676-B75F-50F0B9B32C78}" srcOrd="0" destOrd="0" presId="urn:microsoft.com/office/officeart/2016/7/layout/RepeatingBendingProcessNew"/>
    <dgm:cxn modelId="{6B29EF26-A942-4E20-A53E-C8C6FCF8EF0A}" type="presOf" srcId="{85EAC69C-C35D-4951-8989-068B478F376C}" destId="{0AC1AE17-963B-40DB-9338-9942976DD3F0}" srcOrd="0" destOrd="0" presId="urn:microsoft.com/office/officeart/2016/7/layout/RepeatingBendingProcessNew"/>
    <dgm:cxn modelId="{88E05E2D-63DB-46C3-ADF5-2669C20B4FB9}" type="presOf" srcId="{5F73C7D2-AA83-4D7F-8E9F-8DEEB977026F}" destId="{EC037EE7-7DAD-401E-A647-BA2223688587}" srcOrd="0" destOrd="0" presId="urn:microsoft.com/office/officeart/2016/7/layout/RepeatingBendingProcessNew"/>
    <dgm:cxn modelId="{B1D70A2E-CFC9-47FF-B779-B7978AE7F066}" type="presOf" srcId="{5F73C7D2-AA83-4D7F-8E9F-8DEEB977026F}" destId="{2ABB078A-6DD2-48D0-8D61-DF78040BA333}" srcOrd="1" destOrd="0" presId="urn:microsoft.com/office/officeart/2016/7/layout/RepeatingBendingProcessNew"/>
    <dgm:cxn modelId="{0831242F-BC6D-4680-AF6B-CAF5BC5E3105}" srcId="{C7D742D4-8899-4302-B12B-31E818166DD9}" destId="{05B24310-5EB2-4D48-9D11-D32F8773ECA9}" srcOrd="2" destOrd="0" parTransId="{3CC7A903-0B4B-4C72-9C8D-25E3B20F068A}" sibTransId="{102D13EC-B457-4FDF-85B8-8FD9786D6995}"/>
    <dgm:cxn modelId="{D1FF722F-C06B-4C81-B3E0-AE3FE7CE8AE4}" type="presOf" srcId="{102D13EC-B457-4FDF-85B8-8FD9786D6995}" destId="{0E7C7C8B-9660-4A4C-ACC9-F5A64D541570}" srcOrd="1" destOrd="0" presId="urn:microsoft.com/office/officeart/2016/7/layout/RepeatingBendingProcessNew"/>
    <dgm:cxn modelId="{1B410548-CAA4-477C-86D3-88273F9BDC20}" type="presOf" srcId="{AFAD1D2C-C1CD-41AA-84C0-711DC114A24B}" destId="{0DD83287-1354-4032-AC79-D31A005BECD9}" srcOrd="0" destOrd="0" presId="urn:microsoft.com/office/officeart/2016/7/layout/RepeatingBendingProcessNew"/>
    <dgm:cxn modelId="{BCFF9271-1D20-43A9-B1CA-A4CC53A34062}" type="presOf" srcId="{EFC9EE0A-5316-4181-ACBC-407E6FF9474D}" destId="{134C389A-8072-43E0-BD43-C6E317D29A1A}" srcOrd="0" destOrd="0" presId="urn:microsoft.com/office/officeart/2016/7/layout/RepeatingBendingProcessNew"/>
    <dgm:cxn modelId="{45DDB171-BEFF-4D60-A7B8-FDB9E2BA7BFD}" type="presOf" srcId="{27D2D894-0637-4F7A-90FE-2D7F00CB7B5E}" destId="{F905EF13-458A-47AE-8719-FEA321EFB013}" srcOrd="1" destOrd="0" presId="urn:microsoft.com/office/officeart/2016/7/layout/RepeatingBendingProcessNew"/>
    <dgm:cxn modelId="{65EF7E56-47C6-4193-8ABD-3D0564B88655}" srcId="{C7D742D4-8899-4302-B12B-31E818166DD9}" destId="{715451EB-2BC4-4C69-8DC6-A9019D71A198}" srcOrd="5" destOrd="0" parTransId="{D6D32BFC-37E8-4668-9F06-B8DDAACE250C}" sibTransId="{194854CF-829A-46D6-9B1D-E97CDE62EB01}"/>
    <dgm:cxn modelId="{F811047B-6E08-44DF-9439-561D47D25044}" type="presOf" srcId="{102D13EC-B457-4FDF-85B8-8FD9786D6995}" destId="{85CF5366-BFF1-4E36-AE72-16DC499C11E5}" srcOrd="0" destOrd="0" presId="urn:microsoft.com/office/officeart/2016/7/layout/RepeatingBendingProcessNew"/>
    <dgm:cxn modelId="{25D60D82-1533-4BC3-A820-0C8D66F40D54}" type="presOf" srcId="{7CC981D7-7576-4E64-B9B1-BE0E42D619B3}" destId="{5B5E2569-04AC-4D51-BF39-7D4A638FC05B}" srcOrd="1" destOrd="0" presId="urn:microsoft.com/office/officeart/2016/7/layout/RepeatingBendingProcessNew"/>
    <dgm:cxn modelId="{8EFF528D-72DF-4D84-8F7D-F4769BD40C65}" type="presOf" srcId="{6AEFF1A4-F07B-4F8C-93C4-1594A4235AC7}" destId="{FD30ABB2-9E7E-4CE6-AF67-3BA991F53369}" srcOrd="1" destOrd="0" presId="urn:microsoft.com/office/officeart/2016/7/layout/RepeatingBendingProcessNew"/>
    <dgm:cxn modelId="{06C1A594-A51C-4CA1-A300-CF756EC3F7FA}" type="presOf" srcId="{7CC981D7-7576-4E64-B9B1-BE0E42D619B3}" destId="{760C35F8-5D9D-4415-B97B-6DB55E3450E7}" srcOrd="0" destOrd="0" presId="urn:microsoft.com/office/officeart/2016/7/layout/RepeatingBendingProcessNew"/>
    <dgm:cxn modelId="{7CF3279B-216F-422B-8FF6-79D070607C79}" srcId="{C7D742D4-8899-4302-B12B-31E818166DD9}" destId="{AFAD1D2C-C1CD-41AA-84C0-711DC114A24B}" srcOrd="0" destOrd="0" parTransId="{35C1C187-9DA3-4357-ACE6-4985088CA5B0}" sibTransId="{5F73C7D2-AA83-4D7F-8E9F-8DEEB977026F}"/>
    <dgm:cxn modelId="{3A00BDB8-6B59-4B0A-8660-70B974203920}" type="presOf" srcId="{27D2D894-0637-4F7A-90FE-2D7F00CB7B5E}" destId="{3A54A1EE-0C57-41B4-9ADC-C018D8D71E58}" srcOrd="0" destOrd="0" presId="urn:microsoft.com/office/officeart/2016/7/layout/RepeatingBendingProcessNew"/>
    <dgm:cxn modelId="{90E3E0C9-BD0B-44BF-8AA5-97DA6BFB9D8F}" type="presOf" srcId="{C7D742D4-8899-4302-B12B-31E818166DD9}" destId="{11B0CD00-B819-416C-8881-CAB71B6E586B}" srcOrd="0" destOrd="0" presId="urn:microsoft.com/office/officeart/2016/7/layout/RepeatingBendingProcessNew"/>
    <dgm:cxn modelId="{099ECECF-5C24-42D5-AF52-9B08260C3EFD}" srcId="{C7D742D4-8899-4302-B12B-31E818166DD9}" destId="{EFC9EE0A-5316-4181-ACBC-407E6FF9474D}" srcOrd="4" destOrd="0" parTransId="{2C924630-25F7-417D-8380-B14A2A34454A}" sibTransId="{27D2D894-0637-4F7A-90FE-2D7F00CB7B5E}"/>
    <dgm:cxn modelId="{0EDF65EA-BA9B-40A4-AFFF-CB7EEE9FDFD6}" srcId="{C7D742D4-8899-4302-B12B-31E818166DD9}" destId="{7A9A3C21-34FD-4BEB-9222-113BE94BD02C}" srcOrd="1" destOrd="0" parTransId="{6678E9FB-C082-48CC-997C-700D2E12E7E3}" sibTransId="{7CC981D7-7576-4E64-B9B1-BE0E42D619B3}"/>
    <dgm:cxn modelId="{FB6A55F5-6370-436E-878E-643C8757374D}" type="presOf" srcId="{715451EB-2BC4-4C69-8DC6-A9019D71A198}" destId="{E600DE75-2E7F-43D8-9A3A-233094BE11A1}" srcOrd="0" destOrd="0" presId="urn:microsoft.com/office/officeart/2016/7/layout/RepeatingBendingProcessNew"/>
    <dgm:cxn modelId="{E0BAEEFF-4804-4DDF-B618-C07E2C1E0D04}" type="presOf" srcId="{6AEFF1A4-F07B-4F8C-93C4-1594A4235AC7}" destId="{88581CB4-3B0A-4B05-83E3-A1BE183169CF}" srcOrd="0" destOrd="0" presId="urn:microsoft.com/office/officeart/2016/7/layout/RepeatingBendingProcessNew"/>
    <dgm:cxn modelId="{D48B93FC-8A7D-451A-811E-05C9B6161965}" type="presParOf" srcId="{11B0CD00-B819-416C-8881-CAB71B6E586B}" destId="{0DD83287-1354-4032-AC79-D31A005BECD9}" srcOrd="0" destOrd="0" presId="urn:microsoft.com/office/officeart/2016/7/layout/RepeatingBendingProcessNew"/>
    <dgm:cxn modelId="{807C5D4A-31CD-47F7-856D-9110DEA79BB0}" type="presParOf" srcId="{11B0CD00-B819-416C-8881-CAB71B6E586B}" destId="{EC037EE7-7DAD-401E-A647-BA2223688587}" srcOrd="1" destOrd="0" presId="urn:microsoft.com/office/officeart/2016/7/layout/RepeatingBendingProcessNew"/>
    <dgm:cxn modelId="{7729BB62-FA3A-4F71-B9A7-A4C29B80067D}" type="presParOf" srcId="{EC037EE7-7DAD-401E-A647-BA2223688587}" destId="{2ABB078A-6DD2-48D0-8D61-DF78040BA333}" srcOrd="0" destOrd="0" presId="urn:microsoft.com/office/officeart/2016/7/layout/RepeatingBendingProcessNew"/>
    <dgm:cxn modelId="{6040C7CA-8BBA-44E6-8BC7-FBCD98788E86}" type="presParOf" srcId="{11B0CD00-B819-416C-8881-CAB71B6E586B}" destId="{D506B59F-90AC-4849-B0F0-D22110039739}" srcOrd="2" destOrd="0" presId="urn:microsoft.com/office/officeart/2016/7/layout/RepeatingBendingProcessNew"/>
    <dgm:cxn modelId="{661A5CBE-291B-4EA5-8EBB-E4F76507EA77}" type="presParOf" srcId="{11B0CD00-B819-416C-8881-CAB71B6E586B}" destId="{760C35F8-5D9D-4415-B97B-6DB55E3450E7}" srcOrd="3" destOrd="0" presId="urn:microsoft.com/office/officeart/2016/7/layout/RepeatingBendingProcessNew"/>
    <dgm:cxn modelId="{891C9857-A38C-479B-AAAB-976108D27240}" type="presParOf" srcId="{760C35F8-5D9D-4415-B97B-6DB55E3450E7}" destId="{5B5E2569-04AC-4D51-BF39-7D4A638FC05B}" srcOrd="0" destOrd="0" presId="urn:microsoft.com/office/officeart/2016/7/layout/RepeatingBendingProcessNew"/>
    <dgm:cxn modelId="{F6A87108-21BF-4D59-9CA8-C99D4E17748A}" type="presParOf" srcId="{11B0CD00-B819-416C-8881-CAB71B6E586B}" destId="{1A1D4672-1836-4676-B75F-50F0B9B32C78}" srcOrd="4" destOrd="0" presId="urn:microsoft.com/office/officeart/2016/7/layout/RepeatingBendingProcessNew"/>
    <dgm:cxn modelId="{924DCD58-9F21-4CAD-BC07-0F4D87D5BA0F}" type="presParOf" srcId="{11B0CD00-B819-416C-8881-CAB71B6E586B}" destId="{85CF5366-BFF1-4E36-AE72-16DC499C11E5}" srcOrd="5" destOrd="0" presId="urn:microsoft.com/office/officeart/2016/7/layout/RepeatingBendingProcessNew"/>
    <dgm:cxn modelId="{0EDCFA9D-8DE2-4DC0-AAE1-F7D0A6E5FCFE}" type="presParOf" srcId="{85CF5366-BFF1-4E36-AE72-16DC499C11E5}" destId="{0E7C7C8B-9660-4A4C-ACC9-F5A64D541570}" srcOrd="0" destOrd="0" presId="urn:microsoft.com/office/officeart/2016/7/layout/RepeatingBendingProcessNew"/>
    <dgm:cxn modelId="{9313F0A3-A89C-40E0-9EC9-1B7ABD900372}" type="presParOf" srcId="{11B0CD00-B819-416C-8881-CAB71B6E586B}" destId="{0AC1AE17-963B-40DB-9338-9942976DD3F0}" srcOrd="6" destOrd="0" presId="urn:microsoft.com/office/officeart/2016/7/layout/RepeatingBendingProcessNew"/>
    <dgm:cxn modelId="{E91DA06C-6274-4D9E-85A5-02E4BEBE77F3}" type="presParOf" srcId="{11B0CD00-B819-416C-8881-CAB71B6E586B}" destId="{88581CB4-3B0A-4B05-83E3-A1BE183169CF}" srcOrd="7" destOrd="0" presId="urn:microsoft.com/office/officeart/2016/7/layout/RepeatingBendingProcessNew"/>
    <dgm:cxn modelId="{160DB910-4C5E-492A-88E9-76F17E6E5856}" type="presParOf" srcId="{88581CB4-3B0A-4B05-83E3-A1BE183169CF}" destId="{FD30ABB2-9E7E-4CE6-AF67-3BA991F53369}" srcOrd="0" destOrd="0" presId="urn:microsoft.com/office/officeart/2016/7/layout/RepeatingBendingProcessNew"/>
    <dgm:cxn modelId="{584A9FA7-3FD2-4F35-A6E9-3EF4B847511F}" type="presParOf" srcId="{11B0CD00-B819-416C-8881-CAB71B6E586B}" destId="{134C389A-8072-43E0-BD43-C6E317D29A1A}" srcOrd="8" destOrd="0" presId="urn:microsoft.com/office/officeart/2016/7/layout/RepeatingBendingProcessNew"/>
    <dgm:cxn modelId="{D35DF945-2535-471C-81E3-7F8B6C904619}" type="presParOf" srcId="{11B0CD00-B819-416C-8881-CAB71B6E586B}" destId="{3A54A1EE-0C57-41B4-9ADC-C018D8D71E58}" srcOrd="9" destOrd="0" presId="urn:microsoft.com/office/officeart/2016/7/layout/RepeatingBendingProcessNew"/>
    <dgm:cxn modelId="{1BA79249-777C-42C4-8773-EC5A1CCB32BE}" type="presParOf" srcId="{3A54A1EE-0C57-41B4-9ADC-C018D8D71E58}" destId="{F905EF13-458A-47AE-8719-FEA321EFB013}" srcOrd="0" destOrd="0" presId="urn:microsoft.com/office/officeart/2016/7/layout/RepeatingBendingProcessNew"/>
    <dgm:cxn modelId="{561802ED-C4E4-4421-B33E-AD9C488C63F9}" type="presParOf" srcId="{11B0CD00-B819-416C-8881-CAB71B6E586B}" destId="{E600DE75-2E7F-43D8-9A3A-233094BE11A1}" srcOrd="10" destOrd="0" presId="urn:microsoft.com/office/officeart/2016/7/layout/RepeatingBendingProcessNew"/>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9EC1FAFD-5FAB-4221-A91F-18A3B53E2E72}" type="doc">
      <dgm:prSet loTypeId="urn:microsoft.com/office/officeart/2016/7/layout/VerticalDownArrowProcess" loCatId="process" qsTypeId="urn:microsoft.com/office/officeart/2005/8/quickstyle/simple1" qsCatId="simple" csTypeId="urn:microsoft.com/office/officeart/2005/8/colors/accent2_2" csCatId="accent2"/>
      <dgm:spPr/>
      <dgm:t>
        <a:bodyPr/>
        <a:lstStyle/>
        <a:p>
          <a:endParaRPr lang="en-US"/>
        </a:p>
      </dgm:t>
    </dgm:pt>
    <dgm:pt modelId="{CA52E517-D9D6-4E0C-9596-C67B01A54A71}">
      <dgm:prSet/>
      <dgm:spPr/>
      <dgm:t>
        <a:bodyPr/>
        <a:lstStyle/>
        <a:p>
          <a:r>
            <a:rPr lang="en-US"/>
            <a:t>Go</a:t>
          </a:r>
        </a:p>
      </dgm:t>
    </dgm:pt>
    <dgm:pt modelId="{B7C34C6A-13B7-48A0-8091-BAFBCA661E93}" type="parTrans" cxnId="{A985BF7F-2EB7-4F3B-975D-03F606F711DE}">
      <dgm:prSet/>
      <dgm:spPr/>
      <dgm:t>
        <a:bodyPr/>
        <a:lstStyle/>
        <a:p>
          <a:endParaRPr lang="en-US"/>
        </a:p>
      </dgm:t>
    </dgm:pt>
    <dgm:pt modelId="{331039EB-7DBE-4E8D-92A4-525987F57FF2}" type="sibTrans" cxnId="{A985BF7F-2EB7-4F3B-975D-03F606F711DE}">
      <dgm:prSet/>
      <dgm:spPr/>
      <dgm:t>
        <a:bodyPr/>
        <a:lstStyle/>
        <a:p>
          <a:endParaRPr lang="en-US"/>
        </a:p>
      </dgm:t>
    </dgm:pt>
    <dgm:pt modelId="{A5225388-6B8E-4077-B82D-0CD2CE6EA76B}">
      <dgm:prSet/>
      <dgm:spPr/>
      <dgm:t>
        <a:bodyPr/>
        <a:lstStyle/>
        <a:p>
          <a:r>
            <a:rPr lang="en-US"/>
            <a:t>Go to the Azure Marketplace</a:t>
          </a:r>
        </a:p>
      </dgm:t>
    </dgm:pt>
    <dgm:pt modelId="{F33BA481-E18E-409A-9922-2C3604C394E6}" type="parTrans" cxnId="{C4DE9075-F0F9-48B8-8796-B76659CAB814}">
      <dgm:prSet/>
      <dgm:spPr/>
      <dgm:t>
        <a:bodyPr/>
        <a:lstStyle/>
        <a:p>
          <a:endParaRPr lang="en-US"/>
        </a:p>
      </dgm:t>
    </dgm:pt>
    <dgm:pt modelId="{691F696D-A399-4921-9A12-8E6D127DA171}" type="sibTrans" cxnId="{C4DE9075-F0F9-48B8-8796-B76659CAB814}">
      <dgm:prSet/>
      <dgm:spPr/>
      <dgm:t>
        <a:bodyPr/>
        <a:lstStyle/>
        <a:p>
          <a:endParaRPr lang="en-US"/>
        </a:p>
      </dgm:t>
    </dgm:pt>
    <dgm:pt modelId="{81587378-7368-466F-9B72-43169F6F0F38}">
      <dgm:prSet/>
      <dgm:spPr/>
      <dgm:t>
        <a:bodyPr/>
        <a:lstStyle/>
        <a:p>
          <a:r>
            <a:rPr lang="en-US"/>
            <a:t>Use</a:t>
          </a:r>
        </a:p>
      </dgm:t>
    </dgm:pt>
    <dgm:pt modelId="{63636736-C408-4496-9B4B-B180D0C4DDFE}" type="parTrans" cxnId="{B3B2C7AD-398B-45F3-913F-31EBE30EF915}">
      <dgm:prSet/>
      <dgm:spPr/>
      <dgm:t>
        <a:bodyPr/>
        <a:lstStyle/>
        <a:p>
          <a:endParaRPr lang="en-US"/>
        </a:p>
      </dgm:t>
    </dgm:pt>
    <dgm:pt modelId="{836BE037-4059-4C95-8FC3-E62E5AFC7F68}" type="sibTrans" cxnId="{B3B2C7AD-398B-45F3-913F-31EBE30EF915}">
      <dgm:prSet/>
      <dgm:spPr/>
      <dgm:t>
        <a:bodyPr/>
        <a:lstStyle/>
        <a:p>
          <a:endParaRPr lang="en-US"/>
        </a:p>
      </dgm:t>
    </dgm:pt>
    <dgm:pt modelId="{3D1A4B44-F390-4928-A7A1-133C6B2802C8}">
      <dgm:prSet/>
      <dgm:spPr/>
      <dgm:t>
        <a:bodyPr/>
        <a:lstStyle/>
        <a:p>
          <a:r>
            <a:rPr lang="en-US"/>
            <a:t>Use the Browse apps to select Security</a:t>
          </a:r>
        </a:p>
      </dgm:t>
    </dgm:pt>
    <dgm:pt modelId="{9E23A7E6-3164-47A3-9360-C057CFE587EF}" type="parTrans" cxnId="{D23AE020-69C3-4845-A442-1A538A55793E}">
      <dgm:prSet/>
      <dgm:spPr/>
      <dgm:t>
        <a:bodyPr/>
        <a:lstStyle/>
        <a:p>
          <a:endParaRPr lang="en-US"/>
        </a:p>
      </dgm:t>
    </dgm:pt>
    <dgm:pt modelId="{7D4A3154-68FA-4F66-B9B8-7FDCD5314959}" type="sibTrans" cxnId="{D23AE020-69C3-4845-A442-1A538A55793E}">
      <dgm:prSet/>
      <dgm:spPr/>
      <dgm:t>
        <a:bodyPr/>
        <a:lstStyle/>
        <a:p>
          <a:endParaRPr lang="en-US"/>
        </a:p>
      </dgm:t>
    </dgm:pt>
    <dgm:pt modelId="{4B0D8409-55A8-498C-9275-76813F3817CA}">
      <dgm:prSet/>
      <dgm:spPr/>
      <dgm:t>
        <a:bodyPr/>
        <a:lstStyle/>
        <a:p>
          <a:r>
            <a:rPr lang="en-US"/>
            <a:t>Filter</a:t>
          </a:r>
        </a:p>
      </dgm:t>
    </dgm:pt>
    <dgm:pt modelId="{C0DE512D-2354-4013-9A5F-D04C9FBEC1FD}" type="parTrans" cxnId="{838C4EA4-DD33-4B74-A4D6-EC0A8C98D09D}">
      <dgm:prSet/>
      <dgm:spPr/>
      <dgm:t>
        <a:bodyPr/>
        <a:lstStyle/>
        <a:p>
          <a:endParaRPr lang="en-US"/>
        </a:p>
      </dgm:t>
    </dgm:pt>
    <dgm:pt modelId="{16EA9326-F4B2-498C-AFDB-DB2196380386}" type="sibTrans" cxnId="{838C4EA4-DD33-4B74-A4D6-EC0A8C98D09D}">
      <dgm:prSet/>
      <dgm:spPr/>
      <dgm:t>
        <a:bodyPr/>
        <a:lstStyle/>
        <a:p>
          <a:endParaRPr lang="en-US"/>
        </a:p>
      </dgm:t>
    </dgm:pt>
    <dgm:pt modelId="{38D20F31-9967-4423-B354-4C019AE85601}">
      <dgm:prSet/>
      <dgm:spPr/>
      <dgm:t>
        <a:bodyPr/>
        <a:lstStyle/>
        <a:p>
          <a:r>
            <a:rPr lang="en-US"/>
            <a:t>Filter the Service Types to Workshop</a:t>
          </a:r>
        </a:p>
      </dgm:t>
    </dgm:pt>
    <dgm:pt modelId="{9BA62F3C-7AA5-42AE-BC5A-9E91A870A61D}" type="parTrans" cxnId="{ACDFB8A8-BA58-4A22-87A3-8D005712092F}">
      <dgm:prSet/>
      <dgm:spPr/>
      <dgm:t>
        <a:bodyPr/>
        <a:lstStyle/>
        <a:p>
          <a:endParaRPr lang="en-US"/>
        </a:p>
      </dgm:t>
    </dgm:pt>
    <dgm:pt modelId="{11E997F3-88F7-4448-B343-F5AD4BB028D4}" type="sibTrans" cxnId="{ACDFB8A8-BA58-4A22-87A3-8D005712092F}">
      <dgm:prSet/>
      <dgm:spPr/>
      <dgm:t>
        <a:bodyPr/>
        <a:lstStyle/>
        <a:p>
          <a:endParaRPr lang="en-US"/>
        </a:p>
      </dgm:t>
    </dgm:pt>
    <dgm:pt modelId="{A16EE1AD-F62F-4EC8-B075-3D64340DA07A}">
      <dgm:prSet/>
      <dgm:spPr/>
      <dgm:t>
        <a:bodyPr/>
        <a:lstStyle/>
        <a:p>
          <a:r>
            <a:rPr lang="en-US"/>
            <a:t>Filter</a:t>
          </a:r>
        </a:p>
      </dgm:t>
    </dgm:pt>
    <dgm:pt modelId="{EF667EB8-9332-4398-A22B-F03EFA296988}" type="parTrans" cxnId="{E6B398D2-E492-42E8-B171-67352BDA15AE}">
      <dgm:prSet/>
      <dgm:spPr/>
      <dgm:t>
        <a:bodyPr/>
        <a:lstStyle/>
        <a:p>
          <a:endParaRPr lang="en-US"/>
        </a:p>
      </dgm:t>
    </dgm:pt>
    <dgm:pt modelId="{D24601C4-63A4-42BB-8786-EDD99C5557D0}" type="sibTrans" cxnId="{E6B398D2-E492-42E8-B171-67352BDA15AE}">
      <dgm:prSet/>
      <dgm:spPr/>
      <dgm:t>
        <a:bodyPr/>
        <a:lstStyle/>
        <a:p>
          <a:endParaRPr lang="en-US"/>
        </a:p>
      </dgm:t>
    </dgm:pt>
    <dgm:pt modelId="{042C64E2-D7B6-4E31-9B39-9A2BBD7F66E5}">
      <dgm:prSet/>
      <dgm:spPr/>
      <dgm:t>
        <a:bodyPr/>
        <a:lstStyle/>
        <a:p>
          <a:r>
            <a:rPr lang="en-US"/>
            <a:t>Filter the Pricing Model to Paid</a:t>
          </a:r>
        </a:p>
      </dgm:t>
    </dgm:pt>
    <dgm:pt modelId="{1723D84C-3B12-439B-ACA0-ACA93F35FEF8}" type="parTrans" cxnId="{C5EB9534-F3EC-46F1-B827-5FA5075ECC8D}">
      <dgm:prSet/>
      <dgm:spPr/>
      <dgm:t>
        <a:bodyPr/>
        <a:lstStyle/>
        <a:p>
          <a:endParaRPr lang="en-US"/>
        </a:p>
      </dgm:t>
    </dgm:pt>
    <dgm:pt modelId="{D5B053E6-7DDE-4E01-B494-45330B3F2741}" type="sibTrans" cxnId="{C5EB9534-F3EC-46F1-B827-5FA5075ECC8D}">
      <dgm:prSet/>
      <dgm:spPr/>
      <dgm:t>
        <a:bodyPr/>
        <a:lstStyle/>
        <a:p>
          <a:endParaRPr lang="en-US"/>
        </a:p>
      </dgm:t>
    </dgm:pt>
    <dgm:pt modelId="{26A9F147-FFB5-40D7-BEE9-7C91B41AE3EE}">
      <dgm:prSet/>
      <dgm:spPr/>
      <dgm:t>
        <a:bodyPr/>
        <a:lstStyle/>
        <a:p>
          <a:r>
            <a:rPr lang="en-US"/>
            <a:t>Find</a:t>
          </a:r>
        </a:p>
      </dgm:t>
    </dgm:pt>
    <dgm:pt modelId="{42126BD5-402B-4207-9700-B0DA84B99CC4}" type="parTrans" cxnId="{2E3A2029-EFF0-45C7-840E-AA933B33A534}">
      <dgm:prSet/>
      <dgm:spPr/>
      <dgm:t>
        <a:bodyPr/>
        <a:lstStyle/>
        <a:p>
          <a:endParaRPr lang="en-US"/>
        </a:p>
      </dgm:t>
    </dgm:pt>
    <dgm:pt modelId="{C4DA66C4-7ABC-4293-A741-426DBCEDF32C}" type="sibTrans" cxnId="{2E3A2029-EFF0-45C7-840E-AA933B33A534}">
      <dgm:prSet/>
      <dgm:spPr/>
      <dgm:t>
        <a:bodyPr/>
        <a:lstStyle/>
        <a:p>
          <a:endParaRPr lang="en-US"/>
        </a:p>
      </dgm:t>
    </dgm:pt>
    <dgm:pt modelId="{DB844DDC-6129-4ABC-81A2-E765A14FC9FB}">
      <dgm:prSet/>
      <dgm:spPr/>
      <dgm:t>
        <a:bodyPr/>
        <a:lstStyle/>
        <a:p>
          <a:r>
            <a:rPr lang="en-US"/>
            <a:t>Find a consulting service</a:t>
          </a:r>
        </a:p>
      </dgm:t>
    </dgm:pt>
    <dgm:pt modelId="{416BB739-5DDC-44C4-946E-517F0F56B83F}" type="parTrans" cxnId="{AF46A3D2-E791-463A-B88D-C7A771153930}">
      <dgm:prSet/>
      <dgm:spPr/>
      <dgm:t>
        <a:bodyPr/>
        <a:lstStyle/>
        <a:p>
          <a:endParaRPr lang="en-US"/>
        </a:p>
      </dgm:t>
    </dgm:pt>
    <dgm:pt modelId="{B5AF7955-B1B5-4501-B5B1-1316E992EBEB}" type="sibTrans" cxnId="{AF46A3D2-E791-463A-B88D-C7A771153930}">
      <dgm:prSet/>
      <dgm:spPr/>
      <dgm:t>
        <a:bodyPr/>
        <a:lstStyle/>
        <a:p>
          <a:endParaRPr lang="en-US"/>
        </a:p>
      </dgm:t>
    </dgm:pt>
    <dgm:pt modelId="{6FE92D77-6368-40CB-8BB8-669C93E891AC}">
      <dgm:prSet/>
      <dgm:spPr/>
      <dgm:t>
        <a:bodyPr/>
        <a:lstStyle/>
        <a:p>
          <a:r>
            <a:rPr lang="en-US"/>
            <a:t>Mark</a:t>
          </a:r>
        </a:p>
      </dgm:t>
    </dgm:pt>
    <dgm:pt modelId="{486DC5FE-379F-4A48-9E14-EF74A9B386A5}" type="parTrans" cxnId="{AD2D9312-0201-4B82-8ACB-313629D8AC40}">
      <dgm:prSet/>
      <dgm:spPr/>
      <dgm:t>
        <a:bodyPr/>
        <a:lstStyle/>
        <a:p>
          <a:endParaRPr lang="en-US"/>
        </a:p>
      </dgm:t>
    </dgm:pt>
    <dgm:pt modelId="{DA1EC12D-9B51-4261-8A6A-2EEE485A63AF}" type="sibTrans" cxnId="{AD2D9312-0201-4B82-8ACB-313629D8AC40}">
      <dgm:prSet/>
      <dgm:spPr/>
      <dgm:t>
        <a:bodyPr/>
        <a:lstStyle/>
        <a:p>
          <a:endParaRPr lang="en-US"/>
        </a:p>
      </dgm:t>
    </dgm:pt>
    <dgm:pt modelId="{0F34F48C-A550-49B8-903B-86995D6EB001}">
      <dgm:prSet/>
      <dgm:spPr/>
      <dgm:t>
        <a:bodyPr/>
        <a:lstStyle/>
        <a:p>
          <a:r>
            <a:rPr lang="en-US"/>
            <a:t>Mark it as a favorite</a:t>
          </a:r>
        </a:p>
      </dgm:t>
    </dgm:pt>
    <dgm:pt modelId="{4BB2AA9B-B9D5-47D8-8F19-842E4CD5A4B8}" type="parTrans" cxnId="{0184A397-75EB-482B-A6A8-A16FE8F00A85}">
      <dgm:prSet/>
      <dgm:spPr/>
      <dgm:t>
        <a:bodyPr/>
        <a:lstStyle/>
        <a:p>
          <a:endParaRPr lang="en-US"/>
        </a:p>
      </dgm:t>
    </dgm:pt>
    <dgm:pt modelId="{FCB1A2D1-DE04-4608-AE0C-A052FC98FF8B}" type="sibTrans" cxnId="{0184A397-75EB-482B-A6A8-A16FE8F00A85}">
      <dgm:prSet/>
      <dgm:spPr/>
      <dgm:t>
        <a:bodyPr/>
        <a:lstStyle/>
        <a:p>
          <a:endParaRPr lang="en-US"/>
        </a:p>
      </dgm:t>
    </dgm:pt>
    <dgm:pt modelId="{BDFC4DE7-C2F3-412A-8B35-9C3E6D8415AD}" type="pres">
      <dgm:prSet presAssocID="{9EC1FAFD-5FAB-4221-A91F-18A3B53E2E72}" presName="Name0" presStyleCnt="0">
        <dgm:presLayoutVars>
          <dgm:dir/>
          <dgm:animLvl val="lvl"/>
          <dgm:resizeHandles val="exact"/>
        </dgm:presLayoutVars>
      </dgm:prSet>
      <dgm:spPr/>
    </dgm:pt>
    <dgm:pt modelId="{2DB6B27D-ACE0-4CE6-9F5D-F2B90C445405}" type="pres">
      <dgm:prSet presAssocID="{6FE92D77-6368-40CB-8BB8-669C93E891AC}" presName="boxAndChildren" presStyleCnt="0"/>
      <dgm:spPr/>
    </dgm:pt>
    <dgm:pt modelId="{A633C143-D754-412F-A3EF-553280136D69}" type="pres">
      <dgm:prSet presAssocID="{6FE92D77-6368-40CB-8BB8-669C93E891AC}" presName="parentTextBox" presStyleLbl="alignNode1" presStyleIdx="0" presStyleCnt="6"/>
      <dgm:spPr/>
    </dgm:pt>
    <dgm:pt modelId="{444386FF-6FA2-467D-8D99-032624C0A1DF}" type="pres">
      <dgm:prSet presAssocID="{6FE92D77-6368-40CB-8BB8-669C93E891AC}" presName="descendantBox" presStyleLbl="bgAccFollowNode1" presStyleIdx="0" presStyleCnt="6"/>
      <dgm:spPr/>
    </dgm:pt>
    <dgm:pt modelId="{5E040CA0-DBC7-40DA-BD7D-7716B217CB68}" type="pres">
      <dgm:prSet presAssocID="{C4DA66C4-7ABC-4293-A741-426DBCEDF32C}" presName="sp" presStyleCnt="0"/>
      <dgm:spPr/>
    </dgm:pt>
    <dgm:pt modelId="{866F8F86-FABE-43AF-B49B-011C69BD4CF5}" type="pres">
      <dgm:prSet presAssocID="{26A9F147-FFB5-40D7-BEE9-7C91B41AE3EE}" presName="arrowAndChildren" presStyleCnt="0"/>
      <dgm:spPr/>
    </dgm:pt>
    <dgm:pt modelId="{8E4B646B-1E25-41D9-87FA-F3E5888E8377}" type="pres">
      <dgm:prSet presAssocID="{26A9F147-FFB5-40D7-BEE9-7C91B41AE3EE}" presName="parentTextArrow" presStyleLbl="node1" presStyleIdx="0" presStyleCnt="0"/>
      <dgm:spPr/>
    </dgm:pt>
    <dgm:pt modelId="{F7F700F7-FFC6-47E6-B2A6-F1E2BA14F45E}" type="pres">
      <dgm:prSet presAssocID="{26A9F147-FFB5-40D7-BEE9-7C91B41AE3EE}" presName="arrow" presStyleLbl="alignNode1" presStyleIdx="1" presStyleCnt="6"/>
      <dgm:spPr/>
    </dgm:pt>
    <dgm:pt modelId="{8BDD0526-5732-4575-875D-AA10FC8BF1EE}" type="pres">
      <dgm:prSet presAssocID="{26A9F147-FFB5-40D7-BEE9-7C91B41AE3EE}" presName="descendantArrow" presStyleLbl="bgAccFollowNode1" presStyleIdx="1" presStyleCnt="6"/>
      <dgm:spPr/>
    </dgm:pt>
    <dgm:pt modelId="{7A56642E-1EC5-4F0C-B696-C6AC309824AD}" type="pres">
      <dgm:prSet presAssocID="{D24601C4-63A4-42BB-8786-EDD99C5557D0}" presName="sp" presStyleCnt="0"/>
      <dgm:spPr/>
    </dgm:pt>
    <dgm:pt modelId="{4FF13A6C-3F33-4A05-A282-3A21A3E6675C}" type="pres">
      <dgm:prSet presAssocID="{A16EE1AD-F62F-4EC8-B075-3D64340DA07A}" presName="arrowAndChildren" presStyleCnt="0"/>
      <dgm:spPr/>
    </dgm:pt>
    <dgm:pt modelId="{C559054E-64DF-4344-B846-20B76110889D}" type="pres">
      <dgm:prSet presAssocID="{A16EE1AD-F62F-4EC8-B075-3D64340DA07A}" presName="parentTextArrow" presStyleLbl="node1" presStyleIdx="0" presStyleCnt="0"/>
      <dgm:spPr/>
    </dgm:pt>
    <dgm:pt modelId="{30A9B216-CBA0-453D-84BF-88C2301BF88B}" type="pres">
      <dgm:prSet presAssocID="{A16EE1AD-F62F-4EC8-B075-3D64340DA07A}" presName="arrow" presStyleLbl="alignNode1" presStyleIdx="2" presStyleCnt="6"/>
      <dgm:spPr/>
    </dgm:pt>
    <dgm:pt modelId="{453622B5-00E2-413A-8EA2-2896FA97222B}" type="pres">
      <dgm:prSet presAssocID="{A16EE1AD-F62F-4EC8-B075-3D64340DA07A}" presName="descendantArrow" presStyleLbl="bgAccFollowNode1" presStyleIdx="2" presStyleCnt="6"/>
      <dgm:spPr/>
    </dgm:pt>
    <dgm:pt modelId="{043DBC09-C832-414E-B320-B94F3E1EBD8A}" type="pres">
      <dgm:prSet presAssocID="{16EA9326-F4B2-498C-AFDB-DB2196380386}" presName="sp" presStyleCnt="0"/>
      <dgm:spPr/>
    </dgm:pt>
    <dgm:pt modelId="{928FAD6D-5E04-4B8A-BFB7-0B7942BBDD7A}" type="pres">
      <dgm:prSet presAssocID="{4B0D8409-55A8-498C-9275-76813F3817CA}" presName="arrowAndChildren" presStyleCnt="0"/>
      <dgm:spPr/>
    </dgm:pt>
    <dgm:pt modelId="{3AA702A0-480D-4C44-822D-797D681D8B52}" type="pres">
      <dgm:prSet presAssocID="{4B0D8409-55A8-498C-9275-76813F3817CA}" presName="parentTextArrow" presStyleLbl="node1" presStyleIdx="0" presStyleCnt="0"/>
      <dgm:spPr/>
    </dgm:pt>
    <dgm:pt modelId="{FD6D2EDF-02A3-425F-93C7-659532CF7DC7}" type="pres">
      <dgm:prSet presAssocID="{4B0D8409-55A8-498C-9275-76813F3817CA}" presName="arrow" presStyleLbl="alignNode1" presStyleIdx="3" presStyleCnt="6"/>
      <dgm:spPr/>
    </dgm:pt>
    <dgm:pt modelId="{FBF9D00E-DCF8-49CB-B755-BCB8A54BC3C8}" type="pres">
      <dgm:prSet presAssocID="{4B0D8409-55A8-498C-9275-76813F3817CA}" presName="descendantArrow" presStyleLbl="bgAccFollowNode1" presStyleIdx="3" presStyleCnt="6"/>
      <dgm:spPr/>
    </dgm:pt>
    <dgm:pt modelId="{4400AD55-6300-4C42-AEA7-4CA2D2FE3AC2}" type="pres">
      <dgm:prSet presAssocID="{836BE037-4059-4C95-8FC3-E62E5AFC7F68}" presName="sp" presStyleCnt="0"/>
      <dgm:spPr/>
    </dgm:pt>
    <dgm:pt modelId="{2470EB8C-05B7-4683-B8E1-46707725DF61}" type="pres">
      <dgm:prSet presAssocID="{81587378-7368-466F-9B72-43169F6F0F38}" presName="arrowAndChildren" presStyleCnt="0"/>
      <dgm:spPr/>
    </dgm:pt>
    <dgm:pt modelId="{1F28675D-3AF1-42F8-80EB-D55E35F773E0}" type="pres">
      <dgm:prSet presAssocID="{81587378-7368-466F-9B72-43169F6F0F38}" presName="parentTextArrow" presStyleLbl="node1" presStyleIdx="0" presStyleCnt="0"/>
      <dgm:spPr/>
    </dgm:pt>
    <dgm:pt modelId="{2A8833E1-3381-41E2-BAFD-62EA1AB8A370}" type="pres">
      <dgm:prSet presAssocID="{81587378-7368-466F-9B72-43169F6F0F38}" presName="arrow" presStyleLbl="alignNode1" presStyleIdx="4" presStyleCnt="6"/>
      <dgm:spPr/>
    </dgm:pt>
    <dgm:pt modelId="{A91FFD47-A07C-49C0-BB13-678F7F07CCF1}" type="pres">
      <dgm:prSet presAssocID="{81587378-7368-466F-9B72-43169F6F0F38}" presName="descendantArrow" presStyleLbl="bgAccFollowNode1" presStyleIdx="4" presStyleCnt="6"/>
      <dgm:spPr/>
    </dgm:pt>
    <dgm:pt modelId="{7708F11D-97B7-4326-AB8A-1253536B0C71}" type="pres">
      <dgm:prSet presAssocID="{331039EB-7DBE-4E8D-92A4-525987F57FF2}" presName="sp" presStyleCnt="0"/>
      <dgm:spPr/>
    </dgm:pt>
    <dgm:pt modelId="{60F26D6E-2900-40DA-8B2B-0531BA68FC55}" type="pres">
      <dgm:prSet presAssocID="{CA52E517-D9D6-4E0C-9596-C67B01A54A71}" presName="arrowAndChildren" presStyleCnt="0"/>
      <dgm:spPr/>
    </dgm:pt>
    <dgm:pt modelId="{8A26C1C0-806F-4E3D-839D-5822E1B96417}" type="pres">
      <dgm:prSet presAssocID="{CA52E517-D9D6-4E0C-9596-C67B01A54A71}" presName="parentTextArrow" presStyleLbl="node1" presStyleIdx="0" presStyleCnt="0"/>
      <dgm:spPr/>
    </dgm:pt>
    <dgm:pt modelId="{FE35DFC9-465D-4107-813F-71D98950F785}" type="pres">
      <dgm:prSet presAssocID="{CA52E517-D9D6-4E0C-9596-C67B01A54A71}" presName="arrow" presStyleLbl="alignNode1" presStyleIdx="5" presStyleCnt="6"/>
      <dgm:spPr/>
    </dgm:pt>
    <dgm:pt modelId="{1046637E-4512-4E46-B39F-F96226FD2C17}" type="pres">
      <dgm:prSet presAssocID="{CA52E517-D9D6-4E0C-9596-C67B01A54A71}" presName="descendantArrow" presStyleLbl="bgAccFollowNode1" presStyleIdx="5" presStyleCnt="6"/>
      <dgm:spPr/>
    </dgm:pt>
  </dgm:ptLst>
  <dgm:cxnLst>
    <dgm:cxn modelId="{57C6A501-DC94-4D95-8E88-CE8F048ADFBE}" type="presOf" srcId="{26A9F147-FFB5-40D7-BEE9-7C91B41AE3EE}" destId="{8E4B646B-1E25-41D9-87FA-F3E5888E8377}" srcOrd="0" destOrd="0" presId="urn:microsoft.com/office/officeart/2016/7/layout/VerticalDownArrowProcess"/>
    <dgm:cxn modelId="{AD2D9312-0201-4B82-8ACB-313629D8AC40}" srcId="{9EC1FAFD-5FAB-4221-A91F-18A3B53E2E72}" destId="{6FE92D77-6368-40CB-8BB8-669C93E891AC}" srcOrd="5" destOrd="0" parTransId="{486DC5FE-379F-4A48-9E14-EF74A9B386A5}" sibTransId="{DA1EC12D-9B51-4261-8A6A-2EEE485A63AF}"/>
    <dgm:cxn modelId="{FDDEB515-2D47-429A-BA55-CA187519B670}" type="presOf" srcId="{81587378-7368-466F-9B72-43169F6F0F38}" destId="{1F28675D-3AF1-42F8-80EB-D55E35F773E0}" srcOrd="0" destOrd="0" presId="urn:microsoft.com/office/officeart/2016/7/layout/VerticalDownArrowProcess"/>
    <dgm:cxn modelId="{D23AE020-69C3-4845-A442-1A538A55793E}" srcId="{81587378-7368-466F-9B72-43169F6F0F38}" destId="{3D1A4B44-F390-4928-A7A1-133C6B2802C8}" srcOrd="0" destOrd="0" parTransId="{9E23A7E6-3164-47A3-9360-C057CFE587EF}" sibTransId="{7D4A3154-68FA-4F66-B9B8-7FDCD5314959}"/>
    <dgm:cxn modelId="{7061FD23-898D-418E-BE83-C23BA679886C}" type="presOf" srcId="{9EC1FAFD-5FAB-4221-A91F-18A3B53E2E72}" destId="{BDFC4DE7-C2F3-412A-8B35-9C3E6D8415AD}" srcOrd="0" destOrd="0" presId="urn:microsoft.com/office/officeart/2016/7/layout/VerticalDownArrowProcess"/>
    <dgm:cxn modelId="{6B4F9825-6463-4D78-9A27-40061A5B9E7A}" type="presOf" srcId="{CA52E517-D9D6-4E0C-9596-C67B01A54A71}" destId="{8A26C1C0-806F-4E3D-839D-5822E1B96417}" srcOrd="0" destOrd="0" presId="urn:microsoft.com/office/officeart/2016/7/layout/VerticalDownArrowProcess"/>
    <dgm:cxn modelId="{2E3A2029-EFF0-45C7-840E-AA933B33A534}" srcId="{9EC1FAFD-5FAB-4221-A91F-18A3B53E2E72}" destId="{26A9F147-FFB5-40D7-BEE9-7C91B41AE3EE}" srcOrd="4" destOrd="0" parTransId="{42126BD5-402B-4207-9700-B0DA84B99CC4}" sibTransId="{C4DA66C4-7ABC-4293-A741-426DBCEDF32C}"/>
    <dgm:cxn modelId="{D6462432-857D-489D-91F5-3ED1C4CAACCC}" type="presOf" srcId="{38D20F31-9967-4423-B354-4C019AE85601}" destId="{FBF9D00E-DCF8-49CB-B755-BCB8A54BC3C8}" srcOrd="0" destOrd="0" presId="urn:microsoft.com/office/officeart/2016/7/layout/VerticalDownArrowProcess"/>
    <dgm:cxn modelId="{B0F84634-97D4-47A6-94E6-531B337231F8}" type="presOf" srcId="{4B0D8409-55A8-498C-9275-76813F3817CA}" destId="{FD6D2EDF-02A3-425F-93C7-659532CF7DC7}" srcOrd="1" destOrd="0" presId="urn:microsoft.com/office/officeart/2016/7/layout/VerticalDownArrowProcess"/>
    <dgm:cxn modelId="{C5EB9534-F3EC-46F1-B827-5FA5075ECC8D}" srcId="{A16EE1AD-F62F-4EC8-B075-3D64340DA07A}" destId="{042C64E2-D7B6-4E31-9B39-9A2BBD7F66E5}" srcOrd="0" destOrd="0" parTransId="{1723D84C-3B12-439B-ACA0-ACA93F35FEF8}" sibTransId="{D5B053E6-7DDE-4E01-B494-45330B3F2741}"/>
    <dgm:cxn modelId="{87254239-89C3-4947-821C-A5F400AEB623}" type="presOf" srcId="{0F34F48C-A550-49B8-903B-86995D6EB001}" destId="{444386FF-6FA2-467D-8D99-032624C0A1DF}" srcOrd="0" destOrd="0" presId="urn:microsoft.com/office/officeart/2016/7/layout/VerticalDownArrowProcess"/>
    <dgm:cxn modelId="{AD85063B-7B53-470E-853E-77BCBB6809FF}" type="presOf" srcId="{26A9F147-FFB5-40D7-BEE9-7C91B41AE3EE}" destId="{F7F700F7-FFC6-47E6-B2A6-F1E2BA14F45E}" srcOrd="1" destOrd="0" presId="urn:microsoft.com/office/officeart/2016/7/layout/VerticalDownArrowProcess"/>
    <dgm:cxn modelId="{C6045140-0943-47A7-9355-BE8263E4D465}" type="presOf" srcId="{A16EE1AD-F62F-4EC8-B075-3D64340DA07A}" destId="{30A9B216-CBA0-453D-84BF-88C2301BF88B}" srcOrd="1" destOrd="0" presId="urn:microsoft.com/office/officeart/2016/7/layout/VerticalDownArrowProcess"/>
    <dgm:cxn modelId="{C608355E-C1D6-48CE-80C4-64741479EDAE}" type="presOf" srcId="{4B0D8409-55A8-498C-9275-76813F3817CA}" destId="{3AA702A0-480D-4C44-822D-797D681D8B52}" srcOrd="0" destOrd="0" presId="urn:microsoft.com/office/officeart/2016/7/layout/VerticalDownArrowProcess"/>
    <dgm:cxn modelId="{6191C642-8483-4157-BCC9-EAD6D6553077}" type="presOf" srcId="{DB844DDC-6129-4ABC-81A2-E765A14FC9FB}" destId="{8BDD0526-5732-4575-875D-AA10FC8BF1EE}" srcOrd="0" destOrd="0" presId="urn:microsoft.com/office/officeart/2016/7/layout/VerticalDownArrowProcess"/>
    <dgm:cxn modelId="{3E737065-C456-48F6-89E9-D66676B8B52E}" type="presOf" srcId="{042C64E2-D7B6-4E31-9B39-9A2BBD7F66E5}" destId="{453622B5-00E2-413A-8EA2-2896FA97222B}" srcOrd="0" destOrd="0" presId="urn:microsoft.com/office/officeart/2016/7/layout/VerticalDownArrowProcess"/>
    <dgm:cxn modelId="{B7431E67-360F-46A5-A072-6F70253E20A9}" type="presOf" srcId="{A5225388-6B8E-4077-B82D-0CD2CE6EA76B}" destId="{1046637E-4512-4E46-B39F-F96226FD2C17}" srcOrd="0" destOrd="0" presId="urn:microsoft.com/office/officeart/2016/7/layout/VerticalDownArrowProcess"/>
    <dgm:cxn modelId="{8ED1F84D-6D05-4107-8891-91339C2C676A}" type="presOf" srcId="{6FE92D77-6368-40CB-8BB8-669C93E891AC}" destId="{A633C143-D754-412F-A3EF-553280136D69}" srcOrd="0" destOrd="0" presId="urn:microsoft.com/office/officeart/2016/7/layout/VerticalDownArrowProcess"/>
    <dgm:cxn modelId="{5B73124E-5163-485B-B78E-0CD01DB9162B}" type="presOf" srcId="{CA52E517-D9D6-4E0C-9596-C67B01A54A71}" destId="{FE35DFC9-465D-4107-813F-71D98950F785}" srcOrd="1" destOrd="0" presId="urn:microsoft.com/office/officeart/2016/7/layout/VerticalDownArrowProcess"/>
    <dgm:cxn modelId="{C4DE9075-F0F9-48B8-8796-B76659CAB814}" srcId="{CA52E517-D9D6-4E0C-9596-C67B01A54A71}" destId="{A5225388-6B8E-4077-B82D-0CD2CE6EA76B}" srcOrd="0" destOrd="0" parTransId="{F33BA481-E18E-409A-9922-2C3604C394E6}" sibTransId="{691F696D-A399-4921-9A12-8E6D127DA171}"/>
    <dgm:cxn modelId="{A985BF7F-2EB7-4F3B-975D-03F606F711DE}" srcId="{9EC1FAFD-5FAB-4221-A91F-18A3B53E2E72}" destId="{CA52E517-D9D6-4E0C-9596-C67B01A54A71}" srcOrd="0" destOrd="0" parTransId="{B7C34C6A-13B7-48A0-8091-BAFBCA661E93}" sibTransId="{331039EB-7DBE-4E8D-92A4-525987F57FF2}"/>
    <dgm:cxn modelId="{0184A397-75EB-482B-A6A8-A16FE8F00A85}" srcId="{6FE92D77-6368-40CB-8BB8-669C93E891AC}" destId="{0F34F48C-A550-49B8-903B-86995D6EB001}" srcOrd="0" destOrd="0" parTransId="{4BB2AA9B-B9D5-47D8-8F19-842E4CD5A4B8}" sibTransId="{FCB1A2D1-DE04-4608-AE0C-A052FC98FF8B}"/>
    <dgm:cxn modelId="{838C4EA4-DD33-4B74-A4D6-EC0A8C98D09D}" srcId="{9EC1FAFD-5FAB-4221-A91F-18A3B53E2E72}" destId="{4B0D8409-55A8-498C-9275-76813F3817CA}" srcOrd="2" destOrd="0" parTransId="{C0DE512D-2354-4013-9A5F-D04C9FBEC1FD}" sibTransId="{16EA9326-F4B2-498C-AFDB-DB2196380386}"/>
    <dgm:cxn modelId="{4DB3F6A4-38CC-423F-8741-7B4D94594E7D}" type="presOf" srcId="{81587378-7368-466F-9B72-43169F6F0F38}" destId="{2A8833E1-3381-41E2-BAFD-62EA1AB8A370}" srcOrd="1" destOrd="0" presId="urn:microsoft.com/office/officeart/2016/7/layout/VerticalDownArrowProcess"/>
    <dgm:cxn modelId="{ACDFB8A8-BA58-4A22-87A3-8D005712092F}" srcId="{4B0D8409-55A8-498C-9275-76813F3817CA}" destId="{38D20F31-9967-4423-B354-4C019AE85601}" srcOrd="0" destOrd="0" parTransId="{9BA62F3C-7AA5-42AE-BC5A-9E91A870A61D}" sibTransId="{11E997F3-88F7-4448-B343-F5AD4BB028D4}"/>
    <dgm:cxn modelId="{B3B2C7AD-398B-45F3-913F-31EBE30EF915}" srcId="{9EC1FAFD-5FAB-4221-A91F-18A3B53E2E72}" destId="{81587378-7368-466F-9B72-43169F6F0F38}" srcOrd="1" destOrd="0" parTransId="{63636736-C408-4496-9B4B-B180D0C4DDFE}" sibTransId="{836BE037-4059-4C95-8FC3-E62E5AFC7F68}"/>
    <dgm:cxn modelId="{E6B398D2-E492-42E8-B171-67352BDA15AE}" srcId="{9EC1FAFD-5FAB-4221-A91F-18A3B53E2E72}" destId="{A16EE1AD-F62F-4EC8-B075-3D64340DA07A}" srcOrd="3" destOrd="0" parTransId="{EF667EB8-9332-4398-A22B-F03EFA296988}" sibTransId="{D24601C4-63A4-42BB-8786-EDD99C5557D0}"/>
    <dgm:cxn modelId="{AF46A3D2-E791-463A-B88D-C7A771153930}" srcId="{26A9F147-FFB5-40D7-BEE9-7C91B41AE3EE}" destId="{DB844DDC-6129-4ABC-81A2-E765A14FC9FB}" srcOrd="0" destOrd="0" parTransId="{416BB739-5DDC-44C4-946E-517F0F56B83F}" sibTransId="{B5AF7955-B1B5-4501-B5B1-1316E992EBEB}"/>
    <dgm:cxn modelId="{47A7ABE0-D7BB-4A8C-8991-28AB32CA39D5}" type="presOf" srcId="{A16EE1AD-F62F-4EC8-B075-3D64340DA07A}" destId="{C559054E-64DF-4344-B846-20B76110889D}" srcOrd="0" destOrd="0" presId="urn:microsoft.com/office/officeart/2016/7/layout/VerticalDownArrowProcess"/>
    <dgm:cxn modelId="{822366FF-121E-4F73-9812-1201AB0E20BA}" type="presOf" srcId="{3D1A4B44-F390-4928-A7A1-133C6B2802C8}" destId="{A91FFD47-A07C-49C0-BB13-678F7F07CCF1}" srcOrd="0" destOrd="0" presId="urn:microsoft.com/office/officeart/2016/7/layout/VerticalDownArrowProcess"/>
    <dgm:cxn modelId="{659006D5-D1BE-4AA0-BDA1-990033F4DECD}" type="presParOf" srcId="{BDFC4DE7-C2F3-412A-8B35-9C3E6D8415AD}" destId="{2DB6B27D-ACE0-4CE6-9F5D-F2B90C445405}" srcOrd="0" destOrd="0" presId="urn:microsoft.com/office/officeart/2016/7/layout/VerticalDownArrowProcess"/>
    <dgm:cxn modelId="{AC324ED0-2A15-4A02-BBFB-0EB1BDE64310}" type="presParOf" srcId="{2DB6B27D-ACE0-4CE6-9F5D-F2B90C445405}" destId="{A633C143-D754-412F-A3EF-553280136D69}" srcOrd="0" destOrd="0" presId="urn:microsoft.com/office/officeart/2016/7/layout/VerticalDownArrowProcess"/>
    <dgm:cxn modelId="{E914F582-84F7-4377-AC14-FC363609D29B}" type="presParOf" srcId="{2DB6B27D-ACE0-4CE6-9F5D-F2B90C445405}" destId="{444386FF-6FA2-467D-8D99-032624C0A1DF}" srcOrd="1" destOrd="0" presId="urn:microsoft.com/office/officeart/2016/7/layout/VerticalDownArrowProcess"/>
    <dgm:cxn modelId="{6D2B2C7F-0A6B-4BAD-8CE0-AF330F03B81C}" type="presParOf" srcId="{BDFC4DE7-C2F3-412A-8B35-9C3E6D8415AD}" destId="{5E040CA0-DBC7-40DA-BD7D-7716B217CB68}" srcOrd="1" destOrd="0" presId="urn:microsoft.com/office/officeart/2016/7/layout/VerticalDownArrowProcess"/>
    <dgm:cxn modelId="{5F4A7792-8F9E-4747-AADB-C357484298EA}" type="presParOf" srcId="{BDFC4DE7-C2F3-412A-8B35-9C3E6D8415AD}" destId="{866F8F86-FABE-43AF-B49B-011C69BD4CF5}" srcOrd="2" destOrd="0" presId="urn:microsoft.com/office/officeart/2016/7/layout/VerticalDownArrowProcess"/>
    <dgm:cxn modelId="{3CE1DC0D-9521-4BC9-BB5A-89922A6892CE}" type="presParOf" srcId="{866F8F86-FABE-43AF-B49B-011C69BD4CF5}" destId="{8E4B646B-1E25-41D9-87FA-F3E5888E8377}" srcOrd="0" destOrd="0" presId="urn:microsoft.com/office/officeart/2016/7/layout/VerticalDownArrowProcess"/>
    <dgm:cxn modelId="{2D846F95-3448-44DE-8525-394C22FB6CC9}" type="presParOf" srcId="{866F8F86-FABE-43AF-B49B-011C69BD4CF5}" destId="{F7F700F7-FFC6-47E6-B2A6-F1E2BA14F45E}" srcOrd="1" destOrd="0" presId="urn:microsoft.com/office/officeart/2016/7/layout/VerticalDownArrowProcess"/>
    <dgm:cxn modelId="{11098943-2AF4-4C47-8A0E-410391E346A9}" type="presParOf" srcId="{866F8F86-FABE-43AF-B49B-011C69BD4CF5}" destId="{8BDD0526-5732-4575-875D-AA10FC8BF1EE}" srcOrd="2" destOrd="0" presId="urn:microsoft.com/office/officeart/2016/7/layout/VerticalDownArrowProcess"/>
    <dgm:cxn modelId="{C7FE5FB0-7E43-430A-BDDD-0AB201033709}" type="presParOf" srcId="{BDFC4DE7-C2F3-412A-8B35-9C3E6D8415AD}" destId="{7A56642E-1EC5-4F0C-B696-C6AC309824AD}" srcOrd="3" destOrd="0" presId="urn:microsoft.com/office/officeart/2016/7/layout/VerticalDownArrowProcess"/>
    <dgm:cxn modelId="{9D11AF47-B964-47EA-A862-F191E19E4304}" type="presParOf" srcId="{BDFC4DE7-C2F3-412A-8B35-9C3E6D8415AD}" destId="{4FF13A6C-3F33-4A05-A282-3A21A3E6675C}" srcOrd="4" destOrd="0" presId="urn:microsoft.com/office/officeart/2016/7/layout/VerticalDownArrowProcess"/>
    <dgm:cxn modelId="{CE4769A6-3112-4C1B-8113-4E87AB86E52A}" type="presParOf" srcId="{4FF13A6C-3F33-4A05-A282-3A21A3E6675C}" destId="{C559054E-64DF-4344-B846-20B76110889D}" srcOrd="0" destOrd="0" presId="urn:microsoft.com/office/officeart/2016/7/layout/VerticalDownArrowProcess"/>
    <dgm:cxn modelId="{74D8E782-B076-45E4-BB9F-5AAE224CDDEA}" type="presParOf" srcId="{4FF13A6C-3F33-4A05-A282-3A21A3E6675C}" destId="{30A9B216-CBA0-453D-84BF-88C2301BF88B}" srcOrd="1" destOrd="0" presId="urn:microsoft.com/office/officeart/2016/7/layout/VerticalDownArrowProcess"/>
    <dgm:cxn modelId="{5EB1D850-C940-4F44-BAD6-352A798AA7D1}" type="presParOf" srcId="{4FF13A6C-3F33-4A05-A282-3A21A3E6675C}" destId="{453622B5-00E2-413A-8EA2-2896FA97222B}" srcOrd="2" destOrd="0" presId="urn:microsoft.com/office/officeart/2016/7/layout/VerticalDownArrowProcess"/>
    <dgm:cxn modelId="{997BA5FC-EED0-4771-8B6F-5AF76874505F}" type="presParOf" srcId="{BDFC4DE7-C2F3-412A-8B35-9C3E6D8415AD}" destId="{043DBC09-C832-414E-B320-B94F3E1EBD8A}" srcOrd="5" destOrd="0" presId="urn:microsoft.com/office/officeart/2016/7/layout/VerticalDownArrowProcess"/>
    <dgm:cxn modelId="{378C9A76-EEC8-400F-BB15-9E549B779CA8}" type="presParOf" srcId="{BDFC4DE7-C2F3-412A-8B35-9C3E6D8415AD}" destId="{928FAD6D-5E04-4B8A-BFB7-0B7942BBDD7A}" srcOrd="6" destOrd="0" presId="urn:microsoft.com/office/officeart/2016/7/layout/VerticalDownArrowProcess"/>
    <dgm:cxn modelId="{ABB49FFD-3384-43FA-A20E-08E85EC719D8}" type="presParOf" srcId="{928FAD6D-5E04-4B8A-BFB7-0B7942BBDD7A}" destId="{3AA702A0-480D-4C44-822D-797D681D8B52}" srcOrd="0" destOrd="0" presId="urn:microsoft.com/office/officeart/2016/7/layout/VerticalDownArrowProcess"/>
    <dgm:cxn modelId="{5A56505E-C408-4EC9-9408-9C11F1D62FB2}" type="presParOf" srcId="{928FAD6D-5E04-4B8A-BFB7-0B7942BBDD7A}" destId="{FD6D2EDF-02A3-425F-93C7-659532CF7DC7}" srcOrd="1" destOrd="0" presId="urn:microsoft.com/office/officeart/2016/7/layout/VerticalDownArrowProcess"/>
    <dgm:cxn modelId="{D9BE85BB-56D0-44B5-B45F-D542AAFCB724}" type="presParOf" srcId="{928FAD6D-5E04-4B8A-BFB7-0B7942BBDD7A}" destId="{FBF9D00E-DCF8-49CB-B755-BCB8A54BC3C8}" srcOrd="2" destOrd="0" presId="urn:microsoft.com/office/officeart/2016/7/layout/VerticalDownArrowProcess"/>
    <dgm:cxn modelId="{1ECDA947-2C19-4500-A547-1147369450DB}" type="presParOf" srcId="{BDFC4DE7-C2F3-412A-8B35-9C3E6D8415AD}" destId="{4400AD55-6300-4C42-AEA7-4CA2D2FE3AC2}" srcOrd="7" destOrd="0" presId="urn:microsoft.com/office/officeart/2016/7/layout/VerticalDownArrowProcess"/>
    <dgm:cxn modelId="{4386FBCF-1E1C-438F-8740-C9CC2D3B54EC}" type="presParOf" srcId="{BDFC4DE7-C2F3-412A-8B35-9C3E6D8415AD}" destId="{2470EB8C-05B7-4683-B8E1-46707725DF61}" srcOrd="8" destOrd="0" presId="urn:microsoft.com/office/officeart/2016/7/layout/VerticalDownArrowProcess"/>
    <dgm:cxn modelId="{0EFAC319-FF2F-4DF6-8FAB-6BEDA5F52CD8}" type="presParOf" srcId="{2470EB8C-05B7-4683-B8E1-46707725DF61}" destId="{1F28675D-3AF1-42F8-80EB-D55E35F773E0}" srcOrd="0" destOrd="0" presId="urn:microsoft.com/office/officeart/2016/7/layout/VerticalDownArrowProcess"/>
    <dgm:cxn modelId="{D5488FF5-2AFB-4352-8A91-AF613CC1D450}" type="presParOf" srcId="{2470EB8C-05B7-4683-B8E1-46707725DF61}" destId="{2A8833E1-3381-41E2-BAFD-62EA1AB8A370}" srcOrd="1" destOrd="0" presId="urn:microsoft.com/office/officeart/2016/7/layout/VerticalDownArrowProcess"/>
    <dgm:cxn modelId="{6390A0CF-DD63-488D-BF90-6925809BB2FC}" type="presParOf" srcId="{2470EB8C-05B7-4683-B8E1-46707725DF61}" destId="{A91FFD47-A07C-49C0-BB13-678F7F07CCF1}" srcOrd="2" destOrd="0" presId="urn:microsoft.com/office/officeart/2016/7/layout/VerticalDownArrowProcess"/>
    <dgm:cxn modelId="{24E38CB1-B392-4A46-A00E-4890BDDCEC38}" type="presParOf" srcId="{BDFC4DE7-C2F3-412A-8B35-9C3E6D8415AD}" destId="{7708F11D-97B7-4326-AB8A-1253536B0C71}" srcOrd="9" destOrd="0" presId="urn:microsoft.com/office/officeart/2016/7/layout/VerticalDownArrowProcess"/>
    <dgm:cxn modelId="{CBF43872-BC5D-4F48-9270-A34992D640F4}" type="presParOf" srcId="{BDFC4DE7-C2F3-412A-8B35-9C3E6D8415AD}" destId="{60F26D6E-2900-40DA-8B2B-0531BA68FC55}" srcOrd="10" destOrd="0" presId="urn:microsoft.com/office/officeart/2016/7/layout/VerticalDownArrowProcess"/>
    <dgm:cxn modelId="{C21E579A-1FFA-4555-80F9-9D25DC104477}" type="presParOf" srcId="{60F26D6E-2900-40DA-8B2B-0531BA68FC55}" destId="{8A26C1C0-806F-4E3D-839D-5822E1B96417}" srcOrd="0" destOrd="0" presId="urn:microsoft.com/office/officeart/2016/7/layout/VerticalDownArrowProcess"/>
    <dgm:cxn modelId="{9DEF5E4F-BF73-43B1-8F59-00E4F97DA322}" type="presParOf" srcId="{60F26D6E-2900-40DA-8B2B-0531BA68FC55}" destId="{FE35DFC9-465D-4107-813F-71D98950F785}" srcOrd="1" destOrd="0" presId="urn:microsoft.com/office/officeart/2016/7/layout/VerticalDownArrowProcess"/>
    <dgm:cxn modelId="{94662AC3-F50F-4A94-8E6B-8333DE255071}" type="presParOf" srcId="{60F26D6E-2900-40DA-8B2B-0531BA68FC55}" destId="{1046637E-4512-4E46-B39F-F96226FD2C17}" srcOrd="2" destOrd="0" presId="urn:microsoft.com/office/officeart/2016/7/layout/VerticalDownArrow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21871722-4642-42BC-BFD5-6A4DA6491825}" type="doc">
      <dgm:prSet loTypeId="urn:microsoft.com/office/officeart/2005/8/layout/hList1" loCatId="list" qsTypeId="urn:microsoft.com/office/officeart/2005/8/quickstyle/simple1" qsCatId="simple" csTypeId="urn:microsoft.com/office/officeart/2005/8/colors/accent2_2" csCatId="accent2" phldr="1"/>
      <dgm:spPr/>
      <dgm:t>
        <a:bodyPr/>
        <a:lstStyle/>
        <a:p>
          <a:endParaRPr lang="en-US"/>
        </a:p>
      </dgm:t>
    </dgm:pt>
    <dgm:pt modelId="{D2A5DCB6-BB08-49A4-953C-6DBDADDE4AD4}">
      <dgm:prSet/>
      <dgm:spPr/>
      <dgm:t>
        <a:bodyPr/>
        <a:lstStyle/>
        <a:p>
          <a:r>
            <a:rPr lang="en-US" baseline="0"/>
            <a:t>Listing (Contact Me)</a:t>
          </a:r>
          <a:endParaRPr lang="en-US"/>
        </a:p>
      </dgm:t>
    </dgm:pt>
    <dgm:pt modelId="{C407147A-426B-4EC6-88D0-F121120D47E4}" type="parTrans" cxnId="{1C4DC44E-B244-4832-BB7D-59BD30A57F33}">
      <dgm:prSet/>
      <dgm:spPr/>
      <dgm:t>
        <a:bodyPr/>
        <a:lstStyle/>
        <a:p>
          <a:endParaRPr lang="en-US"/>
        </a:p>
      </dgm:t>
    </dgm:pt>
    <dgm:pt modelId="{7F8FD042-B4DB-4BD3-B226-CF843BE615E1}" type="sibTrans" cxnId="{1C4DC44E-B244-4832-BB7D-59BD30A57F33}">
      <dgm:prSet/>
      <dgm:spPr/>
      <dgm:t>
        <a:bodyPr/>
        <a:lstStyle/>
        <a:p>
          <a:endParaRPr lang="en-US"/>
        </a:p>
      </dgm:t>
    </dgm:pt>
    <dgm:pt modelId="{240D06BF-47B2-42F2-ADEB-D7C9C2BA6899}">
      <dgm:prSet/>
      <dgm:spPr/>
      <dgm:t>
        <a:bodyPr/>
        <a:lstStyle/>
        <a:p>
          <a:r>
            <a:rPr lang="en-US" baseline="0"/>
            <a:t>Free Trial</a:t>
          </a:r>
          <a:endParaRPr lang="en-US"/>
        </a:p>
      </dgm:t>
    </dgm:pt>
    <dgm:pt modelId="{3B8B3605-18A2-4896-B60D-CB3E122401A8}" type="parTrans" cxnId="{CFE28584-C80A-47D9-9A21-4969900EE99F}">
      <dgm:prSet/>
      <dgm:spPr/>
      <dgm:t>
        <a:bodyPr/>
        <a:lstStyle/>
        <a:p>
          <a:endParaRPr lang="en-US"/>
        </a:p>
      </dgm:t>
    </dgm:pt>
    <dgm:pt modelId="{99CBEB9A-6148-413B-8198-55FDC01F6E43}" type="sibTrans" cxnId="{CFE28584-C80A-47D9-9A21-4969900EE99F}">
      <dgm:prSet/>
      <dgm:spPr/>
      <dgm:t>
        <a:bodyPr/>
        <a:lstStyle/>
        <a:p>
          <a:endParaRPr lang="en-US"/>
        </a:p>
      </dgm:t>
    </dgm:pt>
    <dgm:pt modelId="{A1AD1ED0-5194-43A6-9E46-35606A0CB0AD}">
      <dgm:prSet/>
      <dgm:spPr/>
      <dgm:t>
        <a:bodyPr/>
        <a:lstStyle/>
        <a:p>
          <a:r>
            <a:rPr lang="en-US" baseline="0"/>
            <a:t>Bring Your Own License (BYOL) - Get it Now</a:t>
          </a:r>
          <a:endParaRPr lang="en-US"/>
        </a:p>
      </dgm:t>
    </dgm:pt>
    <dgm:pt modelId="{EC0537D4-ABB1-43C0-92B2-3B82FF23BF41}" type="parTrans" cxnId="{A4B7BFE5-85E4-4FC4-871F-400D53FE9A5A}">
      <dgm:prSet/>
      <dgm:spPr/>
      <dgm:t>
        <a:bodyPr/>
        <a:lstStyle/>
        <a:p>
          <a:endParaRPr lang="en-US"/>
        </a:p>
      </dgm:t>
    </dgm:pt>
    <dgm:pt modelId="{A3D30740-F840-4833-BA5F-6500050085F4}" type="sibTrans" cxnId="{A4B7BFE5-85E4-4FC4-871F-400D53FE9A5A}">
      <dgm:prSet/>
      <dgm:spPr/>
      <dgm:t>
        <a:bodyPr/>
        <a:lstStyle/>
        <a:p>
          <a:endParaRPr lang="en-US"/>
        </a:p>
      </dgm:t>
    </dgm:pt>
    <dgm:pt modelId="{E7A1EB73-FF9B-47C9-B163-6176C8E125C2}">
      <dgm:prSet/>
      <dgm:spPr/>
      <dgm:t>
        <a:bodyPr/>
        <a:lstStyle/>
        <a:p>
          <a:r>
            <a:rPr lang="en-US" baseline="0"/>
            <a:t>Transaction – Get it Now</a:t>
          </a:r>
          <a:endParaRPr lang="en-US"/>
        </a:p>
      </dgm:t>
    </dgm:pt>
    <dgm:pt modelId="{F809A223-9D91-406A-AE84-A6B960FEB988}" type="parTrans" cxnId="{EF2BB284-3088-477D-8C59-970A29A19E60}">
      <dgm:prSet/>
      <dgm:spPr/>
      <dgm:t>
        <a:bodyPr/>
        <a:lstStyle/>
        <a:p>
          <a:endParaRPr lang="en-US"/>
        </a:p>
      </dgm:t>
    </dgm:pt>
    <dgm:pt modelId="{C5B97D50-9AC3-4562-B943-FD5AB23DD662}" type="sibTrans" cxnId="{EF2BB284-3088-477D-8C59-970A29A19E60}">
      <dgm:prSet/>
      <dgm:spPr/>
      <dgm:t>
        <a:bodyPr/>
        <a:lstStyle/>
        <a:p>
          <a:endParaRPr lang="en-US"/>
        </a:p>
      </dgm:t>
    </dgm:pt>
    <dgm:pt modelId="{973D38B8-62A7-4F00-AD4A-3C31A83F6301}">
      <dgm:prSet/>
      <dgm:spPr/>
      <dgm:t>
        <a:bodyPr/>
        <a:lstStyle/>
        <a:p>
          <a:r>
            <a:rPr lang="en-US" baseline="0"/>
            <a:t>Bill to Microsoft account</a:t>
          </a:r>
          <a:endParaRPr lang="en-US"/>
        </a:p>
      </dgm:t>
    </dgm:pt>
    <dgm:pt modelId="{AF7E8A44-FD78-477E-849C-6149E4B69D48}" type="parTrans" cxnId="{A83296DE-7772-42A6-8992-AD07EDB0B89A}">
      <dgm:prSet/>
      <dgm:spPr/>
      <dgm:t>
        <a:bodyPr/>
        <a:lstStyle/>
        <a:p>
          <a:endParaRPr lang="en-US"/>
        </a:p>
      </dgm:t>
    </dgm:pt>
    <dgm:pt modelId="{948880C4-C8A8-403D-AC2F-BFDE2483A9FC}" type="sibTrans" cxnId="{A83296DE-7772-42A6-8992-AD07EDB0B89A}">
      <dgm:prSet/>
      <dgm:spPr/>
      <dgm:t>
        <a:bodyPr/>
        <a:lstStyle/>
        <a:p>
          <a:endParaRPr lang="en-US"/>
        </a:p>
      </dgm:t>
    </dgm:pt>
    <dgm:pt modelId="{D7BF4A5F-4192-4460-B4C6-8F8C65C78EBF}">
      <dgm:prSet/>
      <dgm:spPr/>
      <dgm:t>
        <a:bodyPr/>
        <a:lstStyle/>
        <a:p>
          <a:r>
            <a:rPr lang="en-US" baseline="0"/>
            <a:t>Process with credit card</a:t>
          </a:r>
          <a:endParaRPr lang="en-US"/>
        </a:p>
      </dgm:t>
    </dgm:pt>
    <dgm:pt modelId="{F00F08BE-6411-4BB5-ACB6-CEE40716B337}" type="parTrans" cxnId="{7BB0BCDB-4CF1-4C5B-9F3C-0744186E443C}">
      <dgm:prSet/>
      <dgm:spPr/>
      <dgm:t>
        <a:bodyPr/>
        <a:lstStyle/>
        <a:p>
          <a:endParaRPr lang="en-US"/>
        </a:p>
      </dgm:t>
    </dgm:pt>
    <dgm:pt modelId="{02A54E37-F324-49F5-91C4-F46FD2F304FB}" type="sibTrans" cxnId="{7BB0BCDB-4CF1-4C5B-9F3C-0744186E443C}">
      <dgm:prSet/>
      <dgm:spPr/>
      <dgm:t>
        <a:bodyPr/>
        <a:lstStyle/>
        <a:p>
          <a:endParaRPr lang="en-US"/>
        </a:p>
      </dgm:t>
    </dgm:pt>
    <dgm:pt modelId="{CC5C7731-77BD-49B9-AF7D-3C5ED56F7C62}">
      <dgm:prSet phldr="0"/>
      <dgm:spPr/>
      <dgm:t>
        <a:bodyPr/>
        <a:lstStyle/>
        <a:p>
          <a:pPr rtl="0"/>
          <a:r>
            <a:rPr lang="en-US" baseline="0">
              <a:latin typeface="Segoe UI Semibold"/>
            </a:rPr>
            <a:t>Link to provider CRM</a:t>
          </a:r>
        </a:p>
      </dgm:t>
    </dgm:pt>
    <dgm:pt modelId="{87A64DC1-3CB5-4BB8-BCD6-E44847DF6509}" type="parTrans" cxnId="{E0FD4A40-07FA-4D93-B013-A05E5C75C20A}">
      <dgm:prSet/>
      <dgm:spPr/>
    </dgm:pt>
    <dgm:pt modelId="{8AFACC6E-E8C9-4097-ADBD-1F2F98692004}" type="sibTrans" cxnId="{E0FD4A40-07FA-4D93-B013-A05E5C75C20A}">
      <dgm:prSet/>
      <dgm:spPr/>
    </dgm:pt>
    <dgm:pt modelId="{E78F2ECD-0C8E-4652-AD1D-4654CAE62D38}">
      <dgm:prSet phldr="0"/>
      <dgm:spPr/>
      <dgm:t>
        <a:bodyPr/>
        <a:lstStyle/>
        <a:p>
          <a:pPr rtl="0"/>
          <a:r>
            <a:rPr lang="en-US" baseline="0">
              <a:latin typeface="Segoe UI Semibold"/>
            </a:rPr>
            <a:t>Reach out to interested customers</a:t>
          </a:r>
        </a:p>
      </dgm:t>
    </dgm:pt>
    <dgm:pt modelId="{7DD9F3B9-6338-433D-9515-45C705AB70EB}" type="parTrans" cxnId="{E5D068DA-59B5-4D53-B831-FC4FF5F9DC56}">
      <dgm:prSet/>
      <dgm:spPr/>
    </dgm:pt>
    <dgm:pt modelId="{5698C38E-7AEB-439D-96D8-2AB75978689A}" type="sibTrans" cxnId="{E5D068DA-59B5-4D53-B831-FC4FF5F9DC56}">
      <dgm:prSet/>
      <dgm:spPr/>
    </dgm:pt>
    <dgm:pt modelId="{B58EC602-D6BB-469D-AAC5-C7C4F5543C79}">
      <dgm:prSet phldr="0"/>
      <dgm:spPr/>
      <dgm:t>
        <a:bodyPr/>
        <a:lstStyle/>
        <a:p>
          <a:pPr rtl="0"/>
          <a:r>
            <a:rPr lang="en-US" baseline="0">
              <a:latin typeface="Segoe UI Semibold"/>
            </a:rPr>
            <a:t>Try before you buy</a:t>
          </a:r>
        </a:p>
      </dgm:t>
    </dgm:pt>
    <dgm:pt modelId="{9E197DFF-63E4-4D88-A5EC-10DD3BA704FE}" type="parTrans" cxnId="{9C385AB6-3AF2-4961-B057-189C84B82581}">
      <dgm:prSet/>
      <dgm:spPr/>
    </dgm:pt>
    <dgm:pt modelId="{8D682D1E-A2A3-4D3D-9D35-4AA5D6F9FD71}" type="sibTrans" cxnId="{9C385AB6-3AF2-4961-B057-189C84B82581}">
      <dgm:prSet/>
      <dgm:spPr/>
    </dgm:pt>
    <dgm:pt modelId="{28C1DDD4-CAED-4C70-956B-23FBEF673526}">
      <dgm:prSet phldr="0"/>
      <dgm:spPr/>
      <dgm:t>
        <a:bodyPr/>
        <a:lstStyle/>
        <a:p>
          <a:pPr rtl="0"/>
          <a:r>
            <a:rPr lang="en-US" baseline="0">
              <a:latin typeface="Segoe UI Semibold"/>
            </a:rPr>
            <a:t>Test drive software</a:t>
          </a:r>
        </a:p>
      </dgm:t>
    </dgm:pt>
    <dgm:pt modelId="{238EE6C8-1850-4798-8CD1-0F8D45E37C4A}" type="parTrans" cxnId="{6F48E2DA-9C77-456C-AFC6-025F4954C400}">
      <dgm:prSet/>
      <dgm:spPr/>
    </dgm:pt>
    <dgm:pt modelId="{BC1086D8-4B96-4678-924F-FDBC7E7F5608}" type="sibTrans" cxnId="{6F48E2DA-9C77-456C-AFC6-025F4954C400}">
      <dgm:prSet/>
      <dgm:spPr/>
    </dgm:pt>
    <dgm:pt modelId="{FE64AB79-AE87-4723-B7D7-50A55742C402}">
      <dgm:prSet phldr="0"/>
      <dgm:spPr/>
      <dgm:t>
        <a:bodyPr/>
        <a:lstStyle/>
        <a:p>
          <a:pPr rtl="0"/>
          <a:r>
            <a:rPr lang="en-US" b="1" baseline="0">
              <a:latin typeface="Segoe UI Semibold"/>
            </a:rPr>
            <a:t>Use current license</a:t>
          </a:r>
        </a:p>
      </dgm:t>
    </dgm:pt>
    <dgm:pt modelId="{2A938D1B-CBA6-4D23-96AF-C8EA9A688F56}" type="parTrans" cxnId="{E55AAB74-AE51-4DB1-9A19-EE659C7F5AC3}">
      <dgm:prSet/>
      <dgm:spPr/>
    </dgm:pt>
    <dgm:pt modelId="{6073A497-613E-4E6B-935C-6397B80CAA7A}" type="sibTrans" cxnId="{E55AAB74-AE51-4DB1-9A19-EE659C7F5AC3}">
      <dgm:prSet/>
      <dgm:spPr/>
    </dgm:pt>
    <dgm:pt modelId="{FFF24C88-2870-4620-8653-F50BCD5BDC67}">
      <dgm:prSet phldr="0"/>
      <dgm:spPr/>
      <dgm:t>
        <a:bodyPr/>
        <a:lstStyle/>
        <a:p>
          <a:pPr rtl="0"/>
          <a:r>
            <a:rPr lang="en-US" b="1" baseline="0">
              <a:latin typeface="Segoe UI Semibold"/>
            </a:rPr>
            <a:t>Protects your existing investment in software</a:t>
          </a:r>
        </a:p>
      </dgm:t>
    </dgm:pt>
    <dgm:pt modelId="{CE15191D-D5C4-4FD5-94A3-ADBCBBB92245}" type="parTrans" cxnId="{22EBFAF7-6A14-442E-9E9A-D918C3FB62F0}">
      <dgm:prSet/>
      <dgm:spPr/>
    </dgm:pt>
    <dgm:pt modelId="{AC125F09-66A1-41F8-80D5-3835E26E36FC}" type="sibTrans" cxnId="{22EBFAF7-6A14-442E-9E9A-D918C3FB62F0}">
      <dgm:prSet/>
      <dgm:spPr/>
    </dgm:pt>
    <dgm:pt modelId="{8693F1E6-E796-42A2-95AC-E1DECB27DDFF}" type="pres">
      <dgm:prSet presAssocID="{21871722-4642-42BC-BFD5-6A4DA6491825}" presName="Name0" presStyleCnt="0">
        <dgm:presLayoutVars>
          <dgm:dir/>
          <dgm:animLvl val="lvl"/>
          <dgm:resizeHandles val="exact"/>
        </dgm:presLayoutVars>
      </dgm:prSet>
      <dgm:spPr/>
    </dgm:pt>
    <dgm:pt modelId="{F56F38AF-A1D2-4B33-8531-C4AB80A1D8F4}" type="pres">
      <dgm:prSet presAssocID="{D2A5DCB6-BB08-49A4-953C-6DBDADDE4AD4}" presName="composite" presStyleCnt="0"/>
      <dgm:spPr/>
    </dgm:pt>
    <dgm:pt modelId="{2A3850E2-929E-488A-9605-C1657D549A18}" type="pres">
      <dgm:prSet presAssocID="{D2A5DCB6-BB08-49A4-953C-6DBDADDE4AD4}" presName="parTx" presStyleLbl="alignNode1" presStyleIdx="0" presStyleCnt="4">
        <dgm:presLayoutVars>
          <dgm:chMax val="0"/>
          <dgm:chPref val="0"/>
          <dgm:bulletEnabled val="1"/>
        </dgm:presLayoutVars>
      </dgm:prSet>
      <dgm:spPr/>
    </dgm:pt>
    <dgm:pt modelId="{AB8FACBB-E97E-41EB-8C6A-C350395CD957}" type="pres">
      <dgm:prSet presAssocID="{D2A5DCB6-BB08-49A4-953C-6DBDADDE4AD4}" presName="desTx" presStyleLbl="alignAccFollowNode1" presStyleIdx="0" presStyleCnt="4">
        <dgm:presLayoutVars>
          <dgm:bulletEnabled val="1"/>
        </dgm:presLayoutVars>
      </dgm:prSet>
      <dgm:spPr/>
    </dgm:pt>
    <dgm:pt modelId="{6D57947F-6965-4DDD-A49B-EAD685C34CD0}" type="pres">
      <dgm:prSet presAssocID="{7F8FD042-B4DB-4BD3-B226-CF843BE615E1}" presName="space" presStyleCnt="0"/>
      <dgm:spPr/>
    </dgm:pt>
    <dgm:pt modelId="{0F4AEC24-02BF-4AF3-BBE7-536BB2F04366}" type="pres">
      <dgm:prSet presAssocID="{240D06BF-47B2-42F2-ADEB-D7C9C2BA6899}" presName="composite" presStyleCnt="0"/>
      <dgm:spPr/>
    </dgm:pt>
    <dgm:pt modelId="{9A32E3FC-5173-4CF0-938C-BAE1C2FA68BD}" type="pres">
      <dgm:prSet presAssocID="{240D06BF-47B2-42F2-ADEB-D7C9C2BA6899}" presName="parTx" presStyleLbl="alignNode1" presStyleIdx="1" presStyleCnt="4">
        <dgm:presLayoutVars>
          <dgm:chMax val="0"/>
          <dgm:chPref val="0"/>
          <dgm:bulletEnabled val="1"/>
        </dgm:presLayoutVars>
      </dgm:prSet>
      <dgm:spPr/>
    </dgm:pt>
    <dgm:pt modelId="{3A6D7D2E-32EC-431A-9BEC-9ACDB58173E0}" type="pres">
      <dgm:prSet presAssocID="{240D06BF-47B2-42F2-ADEB-D7C9C2BA6899}" presName="desTx" presStyleLbl="alignAccFollowNode1" presStyleIdx="1" presStyleCnt="4">
        <dgm:presLayoutVars>
          <dgm:bulletEnabled val="1"/>
        </dgm:presLayoutVars>
      </dgm:prSet>
      <dgm:spPr/>
    </dgm:pt>
    <dgm:pt modelId="{6E846282-1EAB-412C-AEF5-E5B5DF64BD92}" type="pres">
      <dgm:prSet presAssocID="{99CBEB9A-6148-413B-8198-55FDC01F6E43}" presName="space" presStyleCnt="0"/>
      <dgm:spPr/>
    </dgm:pt>
    <dgm:pt modelId="{E2BB5B61-AE79-4B78-A8F5-7268D00AB09A}" type="pres">
      <dgm:prSet presAssocID="{A1AD1ED0-5194-43A6-9E46-35606A0CB0AD}" presName="composite" presStyleCnt="0"/>
      <dgm:spPr/>
    </dgm:pt>
    <dgm:pt modelId="{9731D488-8C25-4065-9D60-5FDE7ACC2F20}" type="pres">
      <dgm:prSet presAssocID="{A1AD1ED0-5194-43A6-9E46-35606A0CB0AD}" presName="parTx" presStyleLbl="alignNode1" presStyleIdx="2" presStyleCnt="4">
        <dgm:presLayoutVars>
          <dgm:chMax val="0"/>
          <dgm:chPref val="0"/>
          <dgm:bulletEnabled val="1"/>
        </dgm:presLayoutVars>
      </dgm:prSet>
      <dgm:spPr/>
    </dgm:pt>
    <dgm:pt modelId="{297D5F6F-8DDB-4106-AB89-49221CB02FB9}" type="pres">
      <dgm:prSet presAssocID="{A1AD1ED0-5194-43A6-9E46-35606A0CB0AD}" presName="desTx" presStyleLbl="alignAccFollowNode1" presStyleIdx="2" presStyleCnt="4">
        <dgm:presLayoutVars>
          <dgm:bulletEnabled val="1"/>
        </dgm:presLayoutVars>
      </dgm:prSet>
      <dgm:spPr/>
    </dgm:pt>
    <dgm:pt modelId="{322BEBB5-29FF-4CE4-9755-FE1442630600}" type="pres">
      <dgm:prSet presAssocID="{A3D30740-F840-4833-BA5F-6500050085F4}" presName="space" presStyleCnt="0"/>
      <dgm:spPr/>
    </dgm:pt>
    <dgm:pt modelId="{824A1D67-B9C9-419F-8CBC-C020C9305F9F}" type="pres">
      <dgm:prSet presAssocID="{E7A1EB73-FF9B-47C9-B163-6176C8E125C2}" presName="composite" presStyleCnt="0"/>
      <dgm:spPr/>
    </dgm:pt>
    <dgm:pt modelId="{F5243D60-1C94-45AA-94F1-D458C71FB891}" type="pres">
      <dgm:prSet presAssocID="{E7A1EB73-FF9B-47C9-B163-6176C8E125C2}" presName="parTx" presStyleLbl="alignNode1" presStyleIdx="3" presStyleCnt="4">
        <dgm:presLayoutVars>
          <dgm:chMax val="0"/>
          <dgm:chPref val="0"/>
          <dgm:bulletEnabled val="1"/>
        </dgm:presLayoutVars>
      </dgm:prSet>
      <dgm:spPr/>
    </dgm:pt>
    <dgm:pt modelId="{F86356BB-9F14-4608-ADBF-E7A84CB1978C}" type="pres">
      <dgm:prSet presAssocID="{E7A1EB73-FF9B-47C9-B163-6176C8E125C2}" presName="desTx" presStyleLbl="alignAccFollowNode1" presStyleIdx="3" presStyleCnt="4">
        <dgm:presLayoutVars>
          <dgm:bulletEnabled val="1"/>
        </dgm:presLayoutVars>
      </dgm:prSet>
      <dgm:spPr/>
    </dgm:pt>
  </dgm:ptLst>
  <dgm:cxnLst>
    <dgm:cxn modelId="{FBD23501-09B8-48E8-8C88-22F85ADB059C}" type="presOf" srcId="{E7A1EB73-FF9B-47C9-B163-6176C8E125C2}" destId="{F5243D60-1C94-45AA-94F1-D458C71FB891}" srcOrd="0" destOrd="0" presId="urn:microsoft.com/office/officeart/2005/8/layout/hList1"/>
    <dgm:cxn modelId="{0E450218-D86D-47D5-BF72-1BC186370BE0}" type="presOf" srcId="{D2A5DCB6-BB08-49A4-953C-6DBDADDE4AD4}" destId="{2A3850E2-929E-488A-9605-C1657D549A18}" srcOrd="0" destOrd="0" presId="urn:microsoft.com/office/officeart/2005/8/layout/hList1"/>
    <dgm:cxn modelId="{99223632-47F7-40D6-B00B-3528AF137C21}" type="presOf" srcId="{28C1DDD4-CAED-4C70-956B-23FBEF673526}" destId="{3A6D7D2E-32EC-431A-9BEC-9ACDB58173E0}" srcOrd="0" destOrd="1" presId="urn:microsoft.com/office/officeart/2005/8/layout/hList1"/>
    <dgm:cxn modelId="{7DD46132-1BC4-485E-BF06-4B2B8AB43C46}" type="presOf" srcId="{FE64AB79-AE87-4723-B7D7-50A55742C402}" destId="{297D5F6F-8DDB-4106-AB89-49221CB02FB9}" srcOrd="0" destOrd="0" presId="urn:microsoft.com/office/officeart/2005/8/layout/hList1"/>
    <dgm:cxn modelId="{E0FD4A40-07FA-4D93-B013-A05E5C75C20A}" srcId="{D2A5DCB6-BB08-49A4-953C-6DBDADDE4AD4}" destId="{CC5C7731-77BD-49B9-AF7D-3C5ED56F7C62}" srcOrd="0" destOrd="0" parTransId="{87A64DC1-3CB5-4BB8-BCD6-E44847DF6509}" sibTransId="{8AFACC6E-E8C9-4097-ADBD-1F2F98692004}"/>
    <dgm:cxn modelId="{327CAD5C-E078-4EB5-8985-BB8EEE7953D5}" type="presOf" srcId="{B58EC602-D6BB-469D-AAC5-C7C4F5543C79}" destId="{3A6D7D2E-32EC-431A-9BEC-9ACDB58173E0}" srcOrd="0" destOrd="0" presId="urn:microsoft.com/office/officeart/2005/8/layout/hList1"/>
    <dgm:cxn modelId="{1C4DC44E-B244-4832-BB7D-59BD30A57F33}" srcId="{21871722-4642-42BC-BFD5-6A4DA6491825}" destId="{D2A5DCB6-BB08-49A4-953C-6DBDADDE4AD4}" srcOrd="0" destOrd="0" parTransId="{C407147A-426B-4EC6-88D0-F121120D47E4}" sibTransId="{7F8FD042-B4DB-4BD3-B226-CF843BE615E1}"/>
    <dgm:cxn modelId="{E55AAB74-AE51-4DB1-9A19-EE659C7F5AC3}" srcId="{A1AD1ED0-5194-43A6-9E46-35606A0CB0AD}" destId="{FE64AB79-AE87-4723-B7D7-50A55742C402}" srcOrd="0" destOrd="0" parTransId="{2A938D1B-CBA6-4D23-96AF-C8EA9A688F56}" sibTransId="{6073A497-613E-4E6B-935C-6397B80CAA7A}"/>
    <dgm:cxn modelId="{C98D2B7F-951B-4F59-B2EF-B6CDE25DDE64}" type="presOf" srcId="{FFF24C88-2870-4620-8653-F50BCD5BDC67}" destId="{297D5F6F-8DDB-4106-AB89-49221CB02FB9}" srcOrd="0" destOrd="1" presId="urn:microsoft.com/office/officeart/2005/8/layout/hList1"/>
    <dgm:cxn modelId="{AC5D8584-38C3-452C-BED3-0688BC90D78C}" type="presOf" srcId="{D7BF4A5F-4192-4460-B4C6-8F8C65C78EBF}" destId="{F86356BB-9F14-4608-ADBF-E7A84CB1978C}" srcOrd="0" destOrd="1" presId="urn:microsoft.com/office/officeart/2005/8/layout/hList1"/>
    <dgm:cxn modelId="{CFE28584-C80A-47D9-9A21-4969900EE99F}" srcId="{21871722-4642-42BC-BFD5-6A4DA6491825}" destId="{240D06BF-47B2-42F2-ADEB-D7C9C2BA6899}" srcOrd="1" destOrd="0" parTransId="{3B8B3605-18A2-4896-B60D-CB3E122401A8}" sibTransId="{99CBEB9A-6148-413B-8198-55FDC01F6E43}"/>
    <dgm:cxn modelId="{EF2BB284-3088-477D-8C59-970A29A19E60}" srcId="{21871722-4642-42BC-BFD5-6A4DA6491825}" destId="{E7A1EB73-FF9B-47C9-B163-6176C8E125C2}" srcOrd="3" destOrd="0" parTransId="{F809A223-9D91-406A-AE84-A6B960FEB988}" sibTransId="{C5B97D50-9AC3-4562-B943-FD5AB23DD662}"/>
    <dgm:cxn modelId="{318FAF8C-D570-4BF0-AAA6-DC6782AD786C}" type="presOf" srcId="{CC5C7731-77BD-49B9-AF7D-3C5ED56F7C62}" destId="{AB8FACBB-E97E-41EB-8C6A-C350395CD957}" srcOrd="0" destOrd="0" presId="urn:microsoft.com/office/officeart/2005/8/layout/hList1"/>
    <dgm:cxn modelId="{91F9EA8E-527A-433C-982B-A2B96F6D2E69}" type="presOf" srcId="{21871722-4642-42BC-BFD5-6A4DA6491825}" destId="{8693F1E6-E796-42A2-95AC-E1DECB27DDFF}" srcOrd="0" destOrd="0" presId="urn:microsoft.com/office/officeart/2005/8/layout/hList1"/>
    <dgm:cxn modelId="{0DA04EA3-6525-42D2-99DF-3AFADB2A5BAB}" type="presOf" srcId="{240D06BF-47B2-42F2-ADEB-D7C9C2BA6899}" destId="{9A32E3FC-5173-4CF0-938C-BAE1C2FA68BD}" srcOrd="0" destOrd="0" presId="urn:microsoft.com/office/officeart/2005/8/layout/hList1"/>
    <dgm:cxn modelId="{9C385AB6-3AF2-4961-B057-189C84B82581}" srcId="{240D06BF-47B2-42F2-ADEB-D7C9C2BA6899}" destId="{B58EC602-D6BB-469D-AAC5-C7C4F5543C79}" srcOrd="0" destOrd="0" parTransId="{9E197DFF-63E4-4D88-A5EC-10DD3BA704FE}" sibTransId="{8D682D1E-A2A3-4D3D-9D35-4AA5D6F9FD71}"/>
    <dgm:cxn modelId="{54A798B8-16AA-4F92-9342-ED43E62D9639}" type="presOf" srcId="{A1AD1ED0-5194-43A6-9E46-35606A0CB0AD}" destId="{9731D488-8C25-4065-9D60-5FDE7ACC2F20}" srcOrd="0" destOrd="0" presId="urn:microsoft.com/office/officeart/2005/8/layout/hList1"/>
    <dgm:cxn modelId="{ED863CC5-E8F3-4030-890C-179E6337A5C0}" type="presOf" srcId="{E78F2ECD-0C8E-4652-AD1D-4654CAE62D38}" destId="{AB8FACBB-E97E-41EB-8C6A-C350395CD957}" srcOrd="0" destOrd="1" presId="urn:microsoft.com/office/officeart/2005/8/layout/hList1"/>
    <dgm:cxn modelId="{E5D068DA-59B5-4D53-B831-FC4FF5F9DC56}" srcId="{D2A5DCB6-BB08-49A4-953C-6DBDADDE4AD4}" destId="{E78F2ECD-0C8E-4652-AD1D-4654CAE62D38}" srcOrd="1" destOrd="0" parTransId="{7DD9F3B9-6338-433D-9515-45C705AB70EB}" sibTransId="{5698C38E-7AEB-439D-96D8-2AB75978689A}"/>
    <dgm:cxn modelId="{6F48E2DA-9C77-456C-AFC6-025F4954C400}" srcId="{240D06BF-47B2-42F2-ADEB-D7C9C2BA6899}" destId="{28C1DDD4-CAED-4C70-956B-23FBEF673526}" srcOrd="1" destOrd="0" parTransId="{238EE6C8-1850-4798-8CD1-0F8D45E37C4A}" sibTransId="{BC1086D8-4B96-4678-924F-FDBC7E7F5608}"/>
    <dgm:cxn modelId="{7BB0BCDB-4CF1-4C5B-9F3C-0744186E443C}" srcId="{E7A1EB73-FF9B-47C9-B163-6176C8E125C2}" destId="{D7BF4A5F-4192-4460-B4C6-8F8C65C78EBF}" srcOrd="1" destOrd="0" parTransId="{F00F08BE-6411-4BB5-ACB6-CEE40716B337}" sibTransId="{02A54E37-F324-49F5-91C4-F46FD2F304FB}"/>
    <dgm:cxn modelId="{A83296DE-7772-42A6-8992-AD07EDB0B89A}" srcId="{E7A1EB73-FF9B-47C9-B163-6176C8E125C2}" destId="{973D38B8-62A7-4F00-AD4A-3C31A83F6301}" srcOrd="0" destOrd="0" parTransId="{AF7E8A44-FD78-477E-849C-6149E4B69D48}" sibTransId="{948880C4-C8A8-403D-AC2F-BFDE2483A9FC}"/>
    <dgm:cxn modelId="{A4B7BFE5-85E4-4FC4-871F-400D53FE9A5A}" srcId="{21871722-4642-42BC-BFD5-6A4DA6491825}" destId="{A1AD1ED0-5194-43A6-9E46-35606A0CB0AD}" srcOrd="2" destOrd="0" parTransId="{EC0537D4-ABB1-43C0-92B2-3B82FF23BF41}" sibTransId="{A3D30740-F840-4833-BA5F-6500050085F4}"/>
    <dgm:cxn modelId="{7B918AEF-55B0-4AB2-958C-27993399CFD2}" type="presOf" srcId="{973D38B8-62A7-4F00-AD4A-3C31A83F6301}" destId="{F86356BB-9F14-4608-ADBF-E7A84CB1978C}" srcOrd="0" destOrd="0" presId="urn:microsoft.com/office/officeart/2005/8/layout/hList1"/>
    <dgm:cxn modelId="{22EBFAF7-6A14-442E-9E9A-D918C3FB62F0}" srcId="{A1AD1ED0-5194-43A6-9E46-35606A0CB0AD}" destId="{FFF24C88-2870-4620-8653-F50BCD5BDC67}" srcOrd="1" destOrd="0" parTransId="{CE15191D-D5C4-4FD5-94A3-ADBCBBB92245}" sibTransId="{AC125F09-66A1-41F8-80D5-3835E26E36FC}"/>
    <dgm:cxn modelId="{1ACA9A86-5CD6-45F8-B923-69EB99643BB1}" type="presParOf" srcId="{8693F1E6-E796-42A2-95AC-E1DECB27DDFF}" destId="{F56F38AF-A1D2-4B33-8531-C4AB80A1D8F4}" srcOrd="0" destOrd="0" presId="urn:microsoft.com/office/officeart/2005/8/layout/hList1"/>
    <dgm:cxn modelId="{61990B38-6810-49DB-92CD-4018DE896ABB}" type="presParOf" srcId="{F56F38AF-A1D2-4B33-8531-C4AB80A1D8F4}" destId="{2A3850E2-929E-488A-9605-C1657D549A18}" srcOrd="0" destOrd="0" presId="urn:microsoft.com/office/officeart/2005/8/layout/hList1"/>
    <dgm:cxn modelId="{3FD19168-514D-47F0-9C7B-2CFCEFEA7B4A}" type="presParOf" srcId="{F56F38AF-A1D2-4B33-8531-C4AB80A1D8F4}" destId="{AB8FACBB-E97E-41EB-8C6A-C350395CD957}" srcOrd="1" destOrd="0" presId="urn:microsoft.com/office/officeart/2005/8/layout/hList1"/>
    <dgm:cxn modelId="{C636DBC1-5DB1-4296-A6A4-A2E5FF13E2CF}" type="presParOf" srcId="{8693F1E6-E796-42A2-95AC-E1DECB27DDFF}" destId="{6D57947F-6965-4DDD-A49B-EAD685C34CD0}" srcOrd="1" destOrd="0" presId="urn:microsoft.com/office/officeart/2005/8/layout/hList1"/>
    <dgm:cxn modelId="{A56C14A6-B87E-4B52-A60A-936E8914F580}" type="presParOf" srcId="{8693F1E6-E796-42A2-95AC-E1DECB27DDFF}" destId="{0F4AEC24-02BF-4AF3-BBE7-536BB2F04366}" srcOrd="2" destOrd="0" presId="urn:microsoft.com/office/officeart/2005/8/layout/hList1"/>
    <dgm:cxn modelId="{FF876ED8-6152-4D60-9B75-FF1CB2189F42}" type="presParOf" srcId="{0F4AEC24-02BF-4AF3-BBE7-536BB2F04366}" destId="{9A32E3FC-5173-4CF0-938C-BAE1C2FA68BD}" srcOrd="0" destOrd="0" presId="urn:microsoft.com/office/officeart/2005/8/layout/hList1"/>
    <dgm:cxn modelId="{B6C874DC-722C-4EA3-9626-090B5F7CC4EF}" type="presParOf" srcId="{0F4AEC24-02BF-4AF3-BBE7-536BB2F04366}" destId="{3A6D7D2E-32EC-431A-9BEC-9ACDB58173E0}" srcOrd="1" destOrd="0" presId="urn:microsoft.com/office/officeart/2005/8/layout/hList1"/>
    <dgm:cxn modelId="{3B65389D-8E39-4456-AD6B-5ECAE6906C99}" type="presParOf" srcId="{8693F1E6-E796-42A2-95AC-E1DECB27DDFF}" destId="{6E846282-1EAB-412C-AEF5-E5B5DF64BD92}" srcOrd="3" destOrd="0" presId="urn:microsoft.com/office/officeart/2005/8/layout/hList1"/>
    <dgm:cxn modelId="{8D99075A-2173-4A31-86AD-2C93648616B4}" type="presParOf" srcId="{8693F1E6-E796-42A2-95AC-E1DECB27DDFF}" destId="{E2BB5B61-AE79-4B78-A8F5-7268D00AB09A}" srcOrd="4" destOrd="0" presId="urn:microsoft.com/office/officeart/2005/8/layout/hList1"/>
    <dgm:cxn modelId="{D25CDCB0-6C9D-407E-A89A-3E0975C6493B}" type="presParOf" srcId="{E2BB5B61-AE79-4B78-A8F5-7268D00AB09A}" destId="{9731D488-8C25-4065-9D60-5FDE7ACC2F20}" srcOrd="0" destOrd="0" presId="urn:microsoft.com/office/officeart/2005/8/layout/hList1"/>
    <dgm:cxn modelId="{7EA59C6E-249D-49E8-98C1-B4663A5D1CAD}" type="presParOf" srcId="{E2BB5B61-AE79-4B78-A8F5-7268D00AB09A}" destId="{297D5F6F-8DDB-4106-AB89-49221CB02FB9}" srcOrd="1" destOrd="0" presId="urn:microsoft.com/office/officeart/2005/8/layout/hList1"/>
    <dgm:cxn modelId="{7C7F0613-D97C-41AC-B5E8-E840C0FE1AA6}" type="presParOf" srcId="{8693F1E6-E796-42A2-95AC-E1DECB27DDFF}" destId="{322BEBB5-29FF-4CE4-9755-FE1442630600}" srcOrd="5" destOrd="0" presId="urn:microsoft.com/office/officeart/2005/8/layout/hList1"/>
    <dgm:cxn modelId="{27119E90-6820-4922-A68B-E1098743EA3B}" type="presParOf" srcId="{8693F1E6-E796-42A2-95AC-E1DECB27DDFF}" destId="{824A1D67-B9C9-419F-8CBC-C020C9305F9F}" srcOrd="6" destOrd="0" presId="urn:microsoft.com/office/officeart/2005/8/layout/hList1"/>
    <dgm:cxn modelId="{057729E7-F981-413A-B71A-4B2ECD3E1054}" type="presParOf" srcId="{824A1D67-B9C9-419F-8CBC-C020C9305F9F}" destId="{F5243D60-1C94-45AA-94F1-D458C71FB891}" srcOrd="0" destOrd="0" presId="urn:microsoft.com/office/officeart/2005/8/layout/hList1"/>
    <dgm:cxn modelId="{402670BD-43A0-4BE4-A3C2-4E6068895024}" type="presParOf" srcId="{824A1D67-B9C9-419F-8CBC-C020C9305F9F}" destId="{F86356BB-9F14-4608-ADBF-E7A84CB1978C}"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367778B8-D55B-4206-B228-18A463EDD552}" type="doc">
      <dgm:prSet loTypeId="urn:microsoft.com/office/officeart/2005/8/layout/hierarchy1" loCatId="hierarchy" qsTypeId="urn:microsoft.com/office/officeart/2005/8/quickstyle/simple2" qsCatId="simple" csTypeId="urn:microsoft.com/office/officeart/2005/8/colors/accent2_2" csCatId="accent2"/>
      <dgm:spPr/>
      <dgm:t>
        <a:bodyPr/>
        <a:lstStyle/>
        <a:p>
          <a:endParaRPr lang="en-US"/>
        </a:p>
      </dgm:t>
    </dgm:pt>
    <dgm:pt modelId="{9BBDB197-807F-4995-A2A8-4577FF0ED79E}">
      <dgm:prSet/>
      <dgm:spPr/>
      <dgm:t>
        <a:bodyPr/>
        <a:lstStyle/>
        <a:p>
          <a:r>
            <a:rPr lang="en-US" baseline="0"/>
            <a:t>Free trials</a:t>
          </a:r>
          <a:endParaRPr lang="en-US"/>
        </a:p>
      </dgm:t>
    </dgm:pt>
    <dgm:pt modelId="{4B9CE6C0-2329-42DC-B9A3-BFE575A196B3}" type="parTrans" cxnId="{38406A22-26F6-4E8C-9376-25689B60A785}">
      <dgm:prSet/>
      <dgm:spPr/>
      <dgm:t>
        <a:bodyPr/>
        <a:lstStyle/>
        <a:p>
          <a:endParaRPr lang="en-US"/>
        </a:p>
      </dgm:t>
    </dgm:pt>
    <dgm:pt modelId="{4A742291-E7C8-4878-9C5C-9D36BDEDA915}" type="sibTrans" cxnId="{38406A22-26F6-4E8C-9376-25689B60A785}">
      <dgm:prSet/>
      <dgm:spPr/>
      <dgm:t>
        <a:bodyPr/>
        <a:lstStyle/>
        <a:p>
          <a:endParaRPr lang="en-US"/>
        </a:p>
      </dgm:t>
    </dgm:pt>
    <dgm:pt modelId="{0272E24E-89FF-4FCC-BAB3-8A7D69F860F8}">
      <dgm:prSet/>
      <dgm:spPr/>
      <dgm:t>
        <a:bodyPr/>
        <a:lstStyle/>
        <a:p>
          <a:r>
            <a:rPr lang="en-US" baseline="0"/>
            <a:t>Plan and pricing options</a:t>
          </a:r>
          <a:endParaRPr lang="en-US"/>
        </a:p>
      </dgm:t>
    </dgm:pt>
    <dgm:pt modelId="{3DBEDB72-7AA1-4565-A299-F1D9AEDB7A5E}" type="parTrans" cxnId="{FF3364C2-307A-43BB-927B-50848AA4F446}">
      <dgm:prSet/>
      <dgm:spPr/>
      <dgm:t>
        <a:bodyPr/>
        <a:lstStyle/>
        <a:p>
          <a:endParaRPr lang="en-US"/>
        </a:p>
      </dgm:t>
    </dgm:pt>
    <dgm:pt modelId="{7214CAF9-D1AA-49CC-9568-97584CF0CAD8}" type="sibTrans" cxnId="{FF3364C2-307A-43BB-927B-50848AA4F446}">
      <dgm:prSet/>
      <dgm:spPr/>
      <dgm:t>
        <a:bodyPr/>
        <a:lstStyle/>
        <a:p>
          <a:endParaRPr lang="en-US"/>
        </a:p>
      </dgm:t>
    </dgm:pt>
    <dgm:pt modelId="{3A2A0504-C898-4A71-8B2F-3AEBAF9EB1D6}">
      <dgm:prSet/>
      <dgm:spPr/>
      <dgm:t>
        <a:bodyPr/>
        <a:lstStyle/>
        <a:p>
          <a:r>
            <a:rPr lang="en-US" baseline="0"/>
            <a:t>Selling through Microsoft</a:t>
          </a:r>
          <a:endParaRPr lang="en-US"/>
        </a:p>
      </dgm:t>
    </dgm:pt>
    <dgm:pt modelId="{DAF734A4-90D2-4FFA-86F7-2C92F7B8A407}" type="parTrans" cxnId="{D05AB872-3AFC-481D-B887-429670981008}">
      <dgm:prSet/>
      <dgm:spPr/>
      <dgm:t>
        <a:bodyPr/>
        <a:lstStyle/>
        <a:p>
          <a:endParaRPr lang="en-US"/>
        </a:p>
      </dgm:t>
    </dgm:pt>
    <dgm:pt modelId="{9AFE3FF1-A720-44D8-9754-ED001B0A1C2A}" type="sibTrans" cxnId="{D05AB872-3AFC-481D-B887-429670981008}">
      <dgm:prSet/>
      <dgm:spPr/>
      <dgm:t>
        <a:bodyPr/>
        <a:lstStyle/>
        <a:p>
          <a:endParaRPr lang="en-US"/>
        </a:p>
      </dgm:t>
    </dgm:pt>
    <dgm:pt modelId="{9C6BF622-F513-4ACD-8D88-FA6922352CFD}" type="pres">
      <dgm:prSet presAssocID="{367778B8-D55B-4206-B228-18A463EDD552}" presName="hierChild1" presStyleCnt="0">
        <dgm:presLayoutVars>
          <dgm:chPref val="1"/>
          <dgm:dir/>
          <dgm:animOne val="branch"/>
          <dgm:animLvl val="lvl"/>
          <dgm:resizeHandles/>
        </dgm:presLayoutVars>
      </dgm:prSet>
      <dgm:spPr/>
    </dgm:pt>
    <dgm:pt modelId="{8E229EBF-ACA3-4A27-900B-389465E7F607}" type="pres">
      <dgm:prSet presAssocID="{9BBDB197-807F-4995-A2A8-4577FF0ED79E}" presName="hierRoot1" presStyleCnt="0"/>
      <dgm:spPr/>
    </dgm:pt>
    <dgm:pt modelId="{BDF89057-F2E2-43E1-A73D-7A63769F66F0}" type="pres">
      <dgm:prSet presAssocID="{9BBDB197-807F-4995-A2A8-4577FF0ED79E}" presName="composite" presStyleCnt="0"/>
      <dgm:spPr/>
    </dgm:pt>
    <dgm:pt modelId="{6353E2DF-10CD-4B56-B1B1-0E8C9D02D5DD}" type="pres">
      <dgm:prSet presAssocID="{9BBDB197-807F-4995-A2A8-4577FF0ED79E}" presName="background" presStyleLbl="node0" presStyleIdx="0" presStyleCnt="3"/>
      <dgm:spPr/>
    </dgm:pt>
    <dgm:pt modelId="{520F1F58-5C78-4603-B44B-6A0E5D94270A}" type="pres">
      <dgm:prSet presAssocID="{9BBDB197-807F-4995-A2A8-4577FF0ED79E}" presName="text" presStyleLbl="fgAcc0" presStyleIdx="0" presStyleCnt="3">
        <dgm:presLayoutVars>
          <dgm:chPref val="3"/>
        </dgm:presLayoutVars>
      </dgm:prSet>
      <dgm:spPr/>
    </dgm:pt>
    <dgm:pt modelId="{D80F3C3D-F874-4B8E-BED6-CB96956E241A}" type="pres">
      <dgm:prSet presAssocID="{9BBDB197-807F-4995-A2A8-4577FF0ED79E}" presName="hierChild2" presStyleCnt="0"/>
      <dgm:spPr/>
    </dgm:pt>
    <dgm:pt modelId="{999FA4B5-9E3E-4063-8B70-A6A3F3C2141B}" type="pres">
      <dgm:prSet presAssocID="{0272E24E-89FF-4FCC-BAB3-8A7D69F860F8}" presName="hierRoot1" presStyleCnt="0"/>
      <dgm:spPr/>
    </dgm:pt>
    <dgm:pt modelId="{7164C5A4-69ED-4041-90AF-288438A526E9}" type="pres">
      <dgm:prSet presAssocID="{0272E24E-89FF-4FCC-BAB3-8A7D69F860F8}" presName="composite" presStyleCnt="0"/>
      <dgm:spPr/>
    </dgm:pt>
    <dgm:pt modelId="{25AEA7F3-275E-473E-94C5-443663F42157}" type="pres">
      <dgm:prSet presAssocID="{0272E24E-89FF-4FCC-BAB3-8A7D69F860F8}" presName="background" presStyleLbl="node0" presStyleIdx="1" presStyleCnt="3"/>
      <dgm:spPr/>
    </dgm:pt>
    <dgm:pt modelId="{12E62845-3680-402A-9E2A-956F9FE097D0}" type="pres">
      <dgm:prSet presAssocID="{0272E24E-89FF-4FCC-BAB3-8A7D69F860F8}" presName="text" presStyleLbl="fgAcc0" presStyleIdx="1" presStyleCnt="3">
        <dgm:presLayoutVars>
          <dgm:chPref val="3"/>
        </dgm:presLayoutVars>
      </dgm:prSet>
      <dgm:spPr/>
    </dgm:pt>
    <dgm:pt modelId="{A8B7734D-D7EA-4DC8-A155-72B32F1237B7}" type="pres">
      <dgm:prSet presAssocID="{0272E24E-89FF-4FCC-BAB3-8A7D69F860F8}" presName="hierChild2" presStyleCnt="0"/>
      <dgm:spPr/>
    </dgm:pt>
    <dgm:pt modelId="{E271137C-A6B0-42E6-8626-8927576A656D}" type="pres">
      <dgm:prSet presAssocID="{3A2A0504-C898-4A71-8B2F-3AEBAF9EB1D6}" presName="hierRoot1" presStyleCnt="0"/>
      <dgm:spPr/>
    </dgm:pt>
    <dgm:pt modelId="{E4D2C646-AA7A-475C-B8F2-BD96AD65F81A}" type="pres">
      <dgm:prSet presAssocID="{3A2A0504-C898-4A71-8B2F-3AEBAF9EB1D6}" presName="composite" presStyleCnt="0"/>
      <dgm:spPr/>
    </dgm:pt>
    <dgm:pt modelId="{8AB241AB-1ECD-4E28-9CC4-37A1F6ADECF0}" type="pres">
      <dgm:prSet presAssocID="{3A2A0504-C898-4A71-8B2F-3AEBAF9EB1D6}" presName="background" presStyleLbl="node0" presStyleIdx="2" presStyleCnt="3"/>
      <dgm:spPr/>
    </dgm:pt>
    <dgm:pt modelId="{960C2012-83CF-4D40-B80C-83648AE03CF9}" type="pres">
      <dgm:prSet presAssocID="{3A2A0504-C898-4A71-8B2F-3AEBAF9EB1D6}" presName="text" presStyleLbl="fgAcc0" presStyleIdx="2" presStyleCnt="3">
        <dgm:presLayoutVars>
          <dgm:chPref val="3"/>
        </dgm:presLayoutVars>
      </dgm:prSet>
      <dgm:spPr/>
    </dgm:pt>
    <dgm:pt modelId="{1DDA8C39-0D1A-4365-92DE-405E30D9DB08}" type="pres">
      <dgm:prSet presAssocID="{3A2A0504-C898-4A71-8B2F-3AEBAF9EB1D6}" presName="hierChild2" presStyleCnt="0"/>
      <dgm:spPr/>
    </dgm:pt>
  </dgm:ptLst>
  <dgm:cxnLst>
    <dgm:cxn modelId="{060F7E0C-2EF9-4EEC-A807-A7CBEA04D7DB}" type="presOf" srcId="{3A2A0504-C898-4A71-8B2F-3AEBAF9EB1D6}" destId="{960C2012-83CF-4D40-B80C-83648AE03CF9}" srcOrd="0" destOrd="0" presId="urn:microsoft.com/office/officeart/2005/8/layout/hierarchy1"/>
    <dgm:cxn modelId="{38406A22-26F6-4E8C-9376-25689B60A785}" srcId="{367778B8-D55B-4206-B228-18A463EDD552}" destId="{9BBDB197-807F-4995-A2A8-4577FF0ED79E}" srcOrd="0" destOrd="0" parTransId="{4B9CE6C0-2329-42DC-B9A3-BFE575A196B3}" sibTransId="{4A742291-E7C8-4878-9C5C-9D36BDEDA915}"/>
    <dgm:cxn modelId="{D05AB872-3AFC-481D-B887-429670981008}" srcId="{367778B8-D55B-4206-B228-18A463EDD552}" destId="{3A2A0504-C898-4A71-8B2F-3AEBAF9EB1D6}" srcOrd="2" destOrd="0" parTransId="{DAF734A4-90D2-4FFA-86F7-2C92F7B8A407}" sibTransId="{9AFE3FF1-A720-44D8-9754-ED001B0A1C2A}"/>
    <dgm:cxn modelId="{C0BD9A84-FDFA-4D67-A42E-54104E16AB46}" type="presOf" srcId="{367778B8-D55B-4206-B228-18A463EDD552}" destId="{9C6BF622-F513-4ACD-8D88-FA6922352CFD}" srcOrd="0" destOrd="0" presId="urn:microsoft.com/office/officeart/2005/8/layout/hierarchy1"/>
    <dgm:cxn modelId="{FE18958E-7B9E-4298-B633-B5AA4BBC6C76}" type="presOf" srcId="{9BBDB197-807F-4995-A2A8-4577FF0ED79E}" destId="{520F1F58-5C78-4603-B44B-6A0E5D94270A}" srcOrd="0" destOrd="0" presId="urn:microsoft.com/office/officeart/2005/8/layout/hierarchy1"/>
    <dgm:cxn modelId="{FF3364C2-307A-43BB-927B-50848AA4F446}" srcId="{367778B8-D55B-4206-B228-18A463EDD552}" destId="{0272E24E-89FF-4FCC-BAB3-8A7D69F860F8}" srcOrd="1" destOrd="0" parTransId="{3DBEDB72-7AA1-4565-A299-F1D9AEDB7A5E}" sibTransId="{7214CAF9-D1AA-49CC-9568-97584CF0CAD8}"/>
    <dgm:cxn modelId="{225458FB-A2ED-424B-A698-22D8D7D5AE5F}" type="presOf" srcId="{0272E24E-89FF-4FCC-BAB3-8A7D69F860F8}" destId="{12E62845-3680-402A-9E2A-956F9FE097D0}" srcOrd="0" destOrd="0" presId="urn:microsoft.com/office/officeart/2005/8/layout/hierarchy1"/>
    <dgm:cxn modelId="{B514E27E-1303-4A90-965E-A73C4F536782}" type="presParOf" srcId="{9C6BF622-F513-4ACD-8D88-FA6922352CFD}" destId="{8E229EBF-ACA3-4A27-900B-389465E7F607}" srcOrd="0" destOrd="0" presId="urn:microsoft.com/office/officeart/2005/8/layout/hierarchy1"/>
    <dgm:cxn modelId="{BBA69E76-D8C6-4AD4-942C-885E25822B88}" type="presParOf" srcId="{8E229EBF-ACA3-4A27-900B-389465E7F607}" destId="{BDF89057-F2E2-43E1-A73D-7A63769F66F0}" srcOrd="0" destOrd="0" presId="urn:microsoft.com/office/officeart/2005/8/layout/hierarchy1"/>
    <dgm:cxn modelId="{C7736136-B0E0-4026-BEFD-7BD9101441D3}" type="presParOf" srcId="{BDF89057-F2E2-43E1-A73D-7A63769F66F0}" destId="{6353E2DF-10CD-4B56-B1B1-0E8C9D02D5DD}" srcOrd="0" destOrd="0" presId="urn:microsoft.com/office/officeart/2005/8/layout/hierarchy1"/>
    <dgm:cxn modelId="{420D9ED0-E313-49DE-B5C6-DD1343E2A9FA}" type="presParOf" srcId="{BDF89057-F2E2-43E1-A73D-7A63769F66F0}" destId="{520F1F58-5C78-4603-B44B-6A0E5D94270A}" srcOrd="1" destOrd="0" presId="urn:microsoft.com/office/officeart/2005/8/layout/hierarchy1"/>
    <dgm:cxn modelId="{42D4D0C8-F158-4FF2-91ED-9F3FE882F646}" type="presParOf" srcId="{8E229EBF-ACA3-4A27-900B-389465E7F607}" destId="{D80F3C3D-F874-4B8E-BED6-CB96956E241A}" srcOrd="1" destOrd="0" presId="urn:microsoft.com/office/officeart/2005/8/layout/hierarchy1"/>
    <dgm:cxn modelId="{278A4DC1-CE39-4300-9DCC-D9EB2D001021}" type="presParOf" srcId="{9C6BF622-F513-4ACD-8D88-FA6922352CFD}" destId="{999FA4B5-9E3E-4063-8B70-A6A3F3C2141B}" srcOrd="1" destOrd="0" presId="urn:microsoft.com/office/officeart/2005/8/layout/hierarchy1"/>
    <dgm:cxn modelId="{8A7767EB-C886-473D-A44B-4B9B8CCFD5DE}" type="presParOf" srcId="{999FA4B5-9E3E-4063-8B70-A6A3F3C2141B}" destId="{7164C5A4-69ED-4041-90AF-288438A526E9}" srcOrd="0" destOrd="0" presId="urn:microsoft.com/office/officeart/2005/8/layout/hierarchy1"/>
    <dgm:cxn modelId="{8D448084-6953-458D-A87B-AB9EB0C43232}" type="presParOf" srcId="{7164C5A4-69ED-4041-90AF-288438A526E9}" destId="{25AEA7F3-275E-473E-94C5-443663F42157}" srcOrd="0" destOrd="0" presId="urn:microsoft.com/office/officeart/2005/8/layout/hierarchy1"/>
    <dgm:cxn modelId="{8979D81B-7936-477D-A244-61AB1B06A141}" type="presParOf" srcId="{7164C5A4-69ED-4041-90AF-288438A526E9}" destId="{12E62845-3680-402A-9E2A-956F9FE097D0}" srcOrd="1" destOrd="0" presId="urn:microsoft.com/office/officeart/2005/8/layout/hierarchy1"/>
    <dgm:cxn modelId="{12DB9FEC-95AB-4CFC-ADDA-DCE256CD1869}" type="presParOf" srcId="{999FA4B5-9E3E-4063-8B70-A6A3F3C2141B}" destId="{A8B7734D-D7EA-4DC8-A155-72B32F1237B7}" srcOrd="1" destOrd="0" presId="urn:microsoft.com/office/officeart/2005/8/layout/hierarchy1"/>
    <dgm:cxn modelId="{FEF6F27E-B3EC-4B3B-8FF2-EB0C2CEE0D66}" type="presParOf" srcId="{9C6BF622-F513-4ACD-8D88-FA6922352CFD}" destId="{E271137C-A6B0-42E6-8626-8927576A656D}" srcOrd="2" destOrd="0" presId="urn:microsoft.com/office/officeart/2005/8/layout/hierarchy1"/>
    <dgm:cxn modelId="{78DEC915-B5E2-464D-BE16-6D03B217D65A}" type="presParOf" srcId="{E271137C-A6B0-42E6-8626-8927576A656D}" destId="{E4D2C646-AA7A-475C-B8F2-BD96AD65F81A}" srcOrd="0" destOrd="0" presId="urn:microsoft.com/office/officeart/2005/8/layout/hierarchy1"/>
    <dgm:cxn modelId="{EC413D0C-6101-49A1-91B6-3710467E6D63}" type="presParOf" srcId="{E4D2C646-AA7A-475C-B8F2-BD96AD65F81A}" destId="{8AB241AB-1ECD-4E28-9CC4-37A1F6ADECF0}" srcOrd="0" destOrd="0" presId="urn:microsoft.com/office/officeart/2005/8/layout/hierarchy1"/>
    <dgm:cxn modelId="{47E95CAC-BBA4-4D88-B811-58A609865960}" type="presParOf" srcId="{E4D2C646-AA7A-475C-B8F2-BD96AD65F81A}" destId="{960C2012-83CF-4D40-B80C-83648AE03CF9}" srcOrd="1" destOrd="0" presId="urn:microsoft.com/office/officeart/2005/8/layout/hierarchy1"/>
    <dgm:cxn modelId="{0D2BEA9C-B67C-4BAC-9DDB-8066A3C791DE}" type="presParOf" srcId="{E271137C-A6B0-42E6-8626-8927576A656D}" destId="{1DDA8C39-0D1A-4365-92DE-405E30D9DB08}" srcOrd="1" destOrd="0" presId="urn:microsoft.com/office/officeart/2005/8/layout/hierarchy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13596270-67C9-4B7A-A7DD-8B98A3183114}" type="doc">
      <dgm:prSet loTypeId="urn:microsoft.com/office/officeart/2005/8/layout/vList5" loCatId="list" qsTypeId="urn:microsoft.com/office/officeart/2005/8/quickstyle/simple2" qsCatId="simple" csTypeId="urn:microsoft.com/office/officeart/2005/8/colors/accent2_2" csCatId="accent2" phldr="1"/>
      <dgm:spPr/>
      <dgm:t>
        <a:bodyPr/>
        <a:lstStyle/>
        <a:p>
          <a:endParaRPr lang="en-US"/>
        </a:p>
      </dgm:t>
    </dgm:pt>
    <dgm:pt modelId="{C4A534BA-A310-40E4-BCF7-5A6B59BE2D52}">
      <dgm:prSet/>
      <dgm:spPr/>
      <dgm:t>
        <a:bodyPr/>
        <a:lstStyle/>
        <a:p>
          <a:r>
            <a:rPr lang="en-US" baseline="0"/>
            <a:t>Requirements</a:t>
          </a:r>
          <a:endParaRPr lang="en-US"/>
        </a:p>
      </dgm:t>
    </dgm:pt>
    <dgm:pt modelId="{93D74102-1881-493E-98DE-06637E3891BB}" type="parTrans" cxnId="{094516AA-D84E-43F7-AF13-08A0B95E05D4}">
      <dgm:prSet/>
      <dgm:spPr/>
      <dgm:t>
        <a:bodyPr/>
        <a:lstStyle/>
        <a:p>
          <a:endParaRPr lang="en-US"/>
        </a:p>
      </dgm:t>
    </dgm:pt>
    <dgm:pt modelId="{427248B8-8317-416B-AD97-3C8A8DA09794}" type="sibTrans" cxnId="{094516AA-D84E-43F7-AF13-08A0B95E05D4}">
      <dgm:prSet/>
      <dgm:spPr/>
      <dgm:t>
        <a:bodyPr/>
        <a:lstStyle/>
        <a:p>
          <a:endParaRPr lang="en-US"/>
        </a:p>
      </dgm:t>
    </dgm:pt>
    <dgm:pt modelId="{213746DA-85ED-42E5-811A-D4D58BEFDA67}">
      <dgm:prSet/>
      <dgm:spPr/>
      <dgm:t>
        <a:bodyPr/>
        <a:lstStyle/>
        <a:p>
          <a:r>
            <a:rPr lang="en-US" baseline="0"/>
            <a:t>Have an Azure subscription</a:t>
          </a:r>
          <a:endParaRPr lang="en-US"/>
        </a:p>
      </dgm:t>
    </dgm:pt>
    <dgm:pt modelId="{81A74E21-6B6E-4F47-8FE1-885116B0A93F}" type="parTrans" cxnId="{2C7902CF-2AF5-4B51-AED7-33B92D98AFFF}">
      <dgm:prSet/>
      <dgm:spPr/>
      <dgm:t>
        <a:bodyPr/>
        <a:lstStyle/>
        <a:p>
          <a:endParaRPr lang="en-US"/>
        </a:p>
      </dgm:t>
    </dgm:pt>
    <dgm:pt modelId="{8BB73698-F38F-4C70-9E00-C55896BBED10}" type="sibTrans" cxnId="{2C7902CF-2AF5-4B51-AED7-33B92D98AFFF}">
      <dgm:prSet/>
      <dgm:spPr/>
      <dgm:t>
        <a:bodyPr/>
        <a:lstStyle/>
        <a:p>
          <a:endParaRPr lang="en-US"/>
        </a:p>
      </dgm:t>
    </dgm:pt>
    <dgm:pt modelId="{D32F1DCE-56A7-4044-8886-68DE6C210C3B}">
      <dgm:prSet/>
      <dgm:spPr/>
      <dgm:t>
        <a:bodyPr/>
        <a:lstStyle/>
        <a:p>
          <a:r>
            <a:rPr lang="en-US" baseline="0" dirty="0"/>
            <a:t>Have correct role assignment to purchase</a:t>
          </a:r>
          <a:endParaRPr lang="en-US" dirty="0"/>
        </a:p>
      </dgm:t>
    </dgm:pt>
    <dgm:pt modelId="{9084F09D-2543-402A-9475-4F51255D6AC9}" type="parTrans" cxnId="{D529520C-BD58-4827-92E4-D3D06A8015B1}">
      <dgm:prSet/>
      <dgm:spPr/>
      <dgm:t>
        <a:bodyPr/>
        <a:lstStyle/>
        <a:p>
          <a:endParaRPr lang="en-US"/>
        </a:p>
      </dgm:t>
    </dgm:pt>
    <dgm:pt modelId="{61D77F2C-1AC9-41C2-BCFE-9DD6C08B43C1}" type="sibTrans" cxnId="{D529520C-BD58-4827-92E4-D3D06A8015B1}">
      <dgm:prSet/>
      <dgm:spPr/>
      <dgm:t>
        <a:bodyPr/>
        <a:lstStyle/>
        <a:p>
          <a:endParaRPr lang="en-US"/>
        </a:p>
      </dgm:t>
    </dgm:pt>
    <dgm:pt modelId="{EBFE2095-F5AC-4AF6-A300-B9E716196A6B}">
      <dgm:prSet/>
      <dgm:spPr/>
      <dgm:t>
        <a:bodyPr/>
        <a:lstStyle/>
        <a:p>
          <a:r>
            <a:rPr lang="en-US" baseline="0"/>
            <a:t>Types of plans</a:t>
          </a:r>
          <a:endParaRPr lang="en-US"/>
        </a:p>
      </dgm:t>
    </dgm:pt>
    <dgm:pt modelId="{32A6A5B8-5814-466C-8BAA-7021BB3B9FE3}" type="parTrans" cxnId="{A3FE5B36-740A-4B79-AF77-A59F08C125C8}">
      <dgm:prSet/>
      <dgm:spPr/>
      <dgm:t>
        <a:bodyPr/>
        <a:lstStyle/>
        <a:p>
          <a:endParaRPr lang="en-US"/>
        </a:p>
      </dgm:t>
    </dgm:pt>
    <dgm:pt modelId="{91393034-817C-49E0-8F58-79D440620446}" type="sibTrans" cxnId="{A3FE5B36-740A-4B79-AF77-A59F08C125C8}">
      <dgm:prSet/>
      <dgm:spPr/>
      <dgm:t>
        <a:bodyPr/>
        <a:lstStyle/>
        <a:p>
          <a:endParaRPr lang="en-US"/>
        </a:p>
      </dgm:t>
    </dgm:pt>
    <dgm:pt modelId="{DDC0035B-1BCC-45DD-A5BC-7BBF27F50DD2}">
      <dgm:prSet/>
      <dgm:spPr/>
      <dgm:t>
        <a:bodyPr/>
        <a:lstStyle/>
        <a:p>
          <a:r>
            <a:rPr lang="en-US" baseline="0"/>
            <a:t>Solution template (ARM template)</a:t>
          </a:r>
          <a:endParaRPr lang="en-US"/>
        </a:p>
      </dgm:t>
    </dgm:pt>
    <dgm:pt modelId="{A4867C4B-0B8A-4E89-A5AE-9689D28589CE}" type="parTrans" cxnId="{C4118EE8-526E-49E4-9AD0-F465A14A85F7}">
      <dgm:prSet/>
      <dgm:spPr/>
      <dgm:t>
        <a:bodyPr/>
        <a:lstStyle/>
        <a:p>
          <a:endParaRPr lang="en-US"/>
        </a:p>
      </dgm:t>
    </dgm:pt>
    <dgm:pt modelId="{13471FFB-CC2B-460D-9A18-A8ED1A87A542}" type="sibTrans" cxnId="{C4118EE8-526E-49E4-9AD0-F465A14A85F7}">
      <dgm:prSet/>
      <dgm:spPr/>
      <dgm:t>
        <a:bodyPr/>
        <a:lstStyle/>
        <a:p>
          <a:endParaRPr lang="en-US"/>
        </a:p>
      </dgm:t>
    </dgm:pt>
    <dgm:pt modelId="{5A0055FD-EF0B-4048-BEC7-67F7FFAEECE1}">
      <dgm:prSet/>
      <dgm:spPr/>
      <dgm:t>
        <a:bodyPr/>
        <a:lstStyle/>
        <a:p>
          <a:r>
            <a:rPr lang="en-US" baseline="0"/>
            <a:t>Managed application</a:t>
          </a:r>
          <a:endParaRPr lang="en-US"/>
        </a:p>
      </dgm:t>
    </dgm:pt>
    <dgm:pt modelId="{9616E823-77B3-48DF-B06A-F623346151F4}" type="parTrans" cxnId="{079C046E-40B8-41A2-9960-660472625C8A}">
      <dgm:prSet/>
      <dgm:spPr/>
      <dgm:t>
        <a:bodyPr/>
        <a:lstStyle/>
        <a:p>
          <a:endParaRPr lang="en-US"/>
        </a:p>
      </dgm:t>
    </dgm:pt>
    <dgm:pt modelId="{0B05A406-72E9-4D32-81A2-8B5CADB0262A}" type="sibTrans" cxnId="{079C046E-40B8-41A2-9960-660472625C8A}">
      <dgm:prSet/>
      <dgm:spPr/>
      <dgm:t>
        <a:bodyPr/>
        <a:lstStyle/>
        <a:p>
          <a:endParaRPr lang="en-US"/>
        </a:p>
      </dgm:t>
    </dgm:pt>
    <dgm:pt modelId="{3FC431C2-C782-4982-85EF-7101E0DA7DEF}">
      <dgm:prSet/>
      <dgm:spPr/>
      <dgm:t>
        <a:bodyPr/>
        <a:lstStyle/>
        <a:p>
          <a:r>
            <a:rPr lang="en-US" baseline="0"/>
            <a:t>Steps to purchase</a:t>
          </a:r>
          <a:endParaRPr lang="en-US"/>
        </a:p>
      </dgm:t>
    </dgm:pt>
    <dgm:pt modelId="{124CC9CC-8A23-40F1-A9CE-5C09D183CE32}" type="parTrans" cxnId="{350C102F-31C2-477B-B56B-D59E35DF8AA3}">
      <dgm:prSet/>
      <dgm:spPr/>
      <dgm:t>
        <a:bodyPr/>
        <a:lstStyle/>
        <a:p>
          <a:endParaRPr lang="en-US"/>
        </a:p>
      </dgm:t>
    </dgm:pt>
    <dgm:pt modelId="{856E602B-5779-4411-BEA1-1858BDD66F00}" type="sibTrans" cxnId="{350C102F-31C2-477B-B56B-D59E35DF8AA3}">
      <dgm:prSet/>
      <dgm:spPr/>
      <dgm:t>
        <a:bodyPr/>
        <a:lstStyle/>
        <a:p>
          <a:endParaRPr lang="en-US"/>
        </a:p>
      </dgm:t>
    </dgm:pt>
    <dgm:pt modelId="{E48761DF-4A61-48C0-8C89-F100C5D7D38D}">
      <dgm:prSet/>
      <dgm:spPr/>
      <dgm:t>
        <a:bodyPr/>
        <a:lstStyle/>
        <a:p>
          <a:r>
            <a:rPr lang="en-US" baseline="0">
              <a:hlinkClick xmlns:r="http://schemas.openxmlformats.org/officeDocument/2006/relationships" r:id="rId1"/>
            </a:rPr>
            <a:t>https://portal.azure.com</a:t>
          </a:r>
          <a:r>
            <a:rPr lang="en-US" baseline="0"/>
            <a:t> </a:t>
          </a:r>
          <a:endParaRPr lang="en-US"/>
        </a:p>
      </dgm:t>
    </dgm:pt>
    <dgm:pt modelId="{9349FBCE-CBE0-4620-99D9-8A58763D17A0}" type="parTrans" cxnId="{740FC66B-5784-487A-BEB1-A4F63CB8F948}">
      <dgm:prSet/>
      <dgm:spPr/>
      <dgm:t>
        <a:bodyPr/>
        <a:lstStyle/>
        <a:p>
          <a:endParaRPr lang="en-US"/>
        </a:p>
      </dgm:t>
    </dgm:pt>
    <dgm:pt modelId="{27FDF6B1-652F-4566-8D72-1D8102877FF4}" type="sibTrans" cxnId="{740FC66B-5784-487A-BEB1-A4F63CB8F948}">
      <dgm:prSet/>
      <dgm:spPr/>
      <dgm:t>
        <a:bodyPr/>
        <a:lstStyle/>
        <a:p>
          <a:endParaRPr lang="en-US"/>
        </a:p>
      </dgm:t>
    </dgm:pt>
    <dgm:pt modelId="{41F8C76C-D8CD-458D-AE2A-BADC5F194AC8}" type="pres">
      <dgm:prSet presAssocID="{13596270-67C9-4B7A-A7DD-8B98A3183114}" presName="Name0" presStyleCnt="0">
        <dgm:presLayoutVars>
          <dgm:dir/>
          <dgm:animLvl val="lvl"/>
          <dgm:resizeHandles val="exact"/>
        </dgm:presLayoutVars>
      </dgm:prSet>
      <dgm:spPr/>
    </dgm:pt>
    <dgm:pt modelId="{7A67E5E3-4CC4-4336-A7A1-C68D48873941}" type="pres">
      <dgm:prSet presAssocID="{C4A534BA-A310-40E4-BCF7-5A6B59BE2D52}" presName="linNode" presStyleCnt="0"/>
      <dgm:spPr/>
    </dgm:pt>
    <dgm:pt modelId="{63766B92-2A1A-4C0A-9D6C-7032EDF3A39C}" type="pres">
      <dgm:prSet presAssocID="{C4A534BA-A310-40E4-BCF7-5A6B59BE2D52}" presName="parentText" presStyleLbl="node1" presStyleIdx="0" presStyleCnt="3">
        <dgm:presLayoutVars>
          <dgm:chMax val="1"/>
          <dgm:bulletEnabled val="1"/>
        </dgm:presLayoutVars>
      </dgm:prSet>
      <dgm:spPr/>
    </dgm:pt>
    <dgm:pt modelId="{23F45B1B-64AE-4F65-AA0D-DA3B7BE4303F}" type="pres">
      <dgm:prSet presAssocID="{C4A534BA-A310-40E4-BCF7-5A6B59BE2D52}" presName="descendantText" presStyleLbl="alignAccFollowNode1" presStyleIdx="0" presStyleCnt="3">
        <dgm:presLayoutVars>
          <dgm:bulletEnabled val="1"/>
        </dgm:presLayoutVars>
      </dgm:prSet>
      <dgm:spPr/>
    </dgm:pt>
    <dgm:pt modelId="{C87BDE86-B929-4ED6-AC7C-4D27B81046A0}" type="pres">
      <dgm:prSet presAssocID="{427248B8-8317-416B-AD97-3C8A8DA09794}" presName="sp" presStyleCnt="0"/>
      <dgm:spPr/>
    </dgm:pt>
    <dgm:pt modelId="{D2F3D8D2-91E8-416D-9A32-DDFE956D312A}" type="pres">
      <dgm:prSet presAssocID="{EBFE2095-F5AC-4AF6-A300-B9E716196A6B}" presName="linNode" presStyleCnt="0"/>
      <dgm:spPr/>
    </dgm:pt>
    <dgm:pt modelId="{AAD31C3D-7ADE-4C83-B6FB-6BC8823CD1B1}" type="pres">
      <dgm:prSet presAssocID="{EBFE2095-F5AC-4AF6-A300-B9E716196A6B}" presName="parentText" presStyleLbl="node1" presStyleIdx="1" presStyleCnt="3">
        <dgm:presLayoutVars>
          <dgm:chMax val="1"/>
          <dgm:bulletEnabled val="1"/>
        </dgm:presLayoutVars>
      </dgm:prSet>
      <dgm:spPr/>
    </dgm:pt>
    <dgm:pt modelId="{0B85CB58-2C90-4CAF-A880-90BFD8247626}" type="pres">
      <dgm:prSet presAssocID="{EBFE2095-F5AC-4AF6-A300-B9E716196A6B}" presName="descendantText" presStyleLbl="alignAccFollowNode1" presStyleIdx="1" presStyleCnt="3">
        <dgm:presLayoutVars>
          <dgm:bulletEnabled val="1"/>
        </dgm:presLayoutVars>
      </dgm:prSet>
      <dgm:spPr/>
    </dgm:pt>
    <dgm:pt modelId="{24A0B9F4-DF40-423B-B8EA-0E7E3D4544AD}" type="pres">
      <dgm:prSet presAssocID="{91393034-817C-49E0-8F58-79D440620446}" presName="sp" presStyleCnt="0"/>
      <dgm:spPr/>
    </dgm:pt>
    <dgm:pt modelId="{098B7C3F-4DA9-4C07-B318-3CECE0C50441}" type="pres">
      <dgm:prSet presAssocID="{3FC431C2-C782-4982-85EF-7101E0DA7DEF}" presName="linNode" presStyleCnt="0"/>
      <dgm:spPr/>
    </dgm:pt>
    <dgm:pt modelId="{2553AE57-7F9B-4AEC-B14F-8816CD63B2A4}" type="pres">
      <dgm:prSet presAssocID="{3FC431C2-C782-4982-85EF-7101E0DA7DEF}" presName="parentText" presStyleLbl="node1" presStyleIdx="2" presStyleCnt="3">
        <dgm:presLayoutVars>
          <dgm:chMax val="1"/>
          <dgm:bulletEnabled val="1"/>
        </dgm:presLayoutVars>
      </dgm:prSet>
      <dgm:spPr/>
    </dgm:pt>
    <dgm:pt modelId="{6E1ED42A-E1BD-4DF7-9A17-C2EB1B25E5A9}" type="pres">
      <dgm:prSet presAssocID="{3FC431C2-C782-4982-85EF-7101E0DA7DEF}" presName="descendantText" presStyleLbl="alignAccFollowNode1" presStyleIdx="2" presStyleCnt="3">
        <dgm:presLayoutVars>
          <dgm:bulletEnabled val="1"/>
        </dgm:presLayoutVars>
      </dgm:prSet>
      <dgm:spPr/>
    </dgm:pt>
  </dgm:ptLst>
  <dgm:cxnLst>
    <dgm:cxn modelId="{97893502-F73F-4FD3-941F-FA85CA65FD2C}" type="presOf" srcId="{5A0055FD-EF0B-4048-BEC7-67F7FFAEECE1}" destId="{0B85CB58-2C90-4CAF-A880-90BFD8247626}" srcOrd="0" destOrd="1" presId="urn:microsoft.com/office/officeart/2005/8/layout/vList5"/>
    <dgm:cxn modelId="{D529520C-BD58-4827-92E4-D3D06A8015B1}" srcId="{C4A534BA-A310-40E4-BCF7-5A6B59BE2D52}" destId="{D32F1DCE-56A7-4044-8886-68DE6C210C3B}" srcOrd="1" destOrd="0" parTransId="{9084F09D-2543-402A-9475-4F51255D6AC9}" sibTransId="{61D77F2C-1AC9-41C2-BCFE-9DD6C08B43C1}"/>
    <dgm:cxn modelId="{5AF1BD13-F1CC-48D2-A495-A20278021569}" type="presOf" srcId="{E48761DF-4A61-48C0-8C89-F100C5D7D38D}" destId="{6E1ED42A-E1BD-4DF7-9A17-C2EB1B25E5A9}" srcOrd="0" destOrd="0" presId="urn:microsoft.com/office/officeart/2005/8/layout/vList5"/>
    <dgm:cxn modelId="{A4F70316-EF81-4A4F-9AAD-639EC748F5DD}" type="presOf" srcId="{DDC0035B-1BCC-45DD-A5BC-7BBF27F50DD2}" destId="{0B85CB58-2C90-4CAF-A880-90BFD8247626}" srcOrd="0" destOrd="0" presId="urn:microsoft.com/office/officeart/2005/8/layout/vList5"/>
    <dgm:cxn modelId="{350C102F-31C2-477B-B56B-D59E35DF8AA3}" srcId="{13596270-67C9-4B7A-A7DD-8B98A3183114}" destId="{3FC431C2-C782-4982-85EF-7101E0DA7DEF}" srcOrd="2" destOrd="0" parTransId="{124CC9CC-8A23-40F1-A9CE-5C09D183CE32}" sibTransId="{856E602B-5779-4411-BEA1-1858BDD66F00}"/>
    <dgm:cxn modelId="{A3FE5B36-740A-4B79-AF77-A59F08C125C8}" srcId="{13596270-67C9-4B7A-A7DD-8B98A3183114}" destId="{EBFE2095-F5AC-4AF6-A300-B9E716196A6B}" srcOrd="1" destOrd="0" parTransId="{32A6A5B8-5814-466C-8BAA-7021BB3B9FE3}" sibTransId="{91393034-817C-49E0-8F58-79D440620446}"/>
    <dgm:cxn modelId="{73DE5161-7819-43AD-B195-06F3F613861F}" type="presOf" srcId="{13596270-67C9-4B7A-A7DD-8B98A3183114}" destId="{41F8C76C-D8CD-458D-AE2A-BADC5F194AC8}" srcOrd="0" destOrd="0" presId="urn:microsoft.com/office/officeart/2005/8/layout/vList5"/>
    <dgm:cxn modelId="{740FC66B-5784-487A-BEB1-A4F63CB8F948}" srcId="{3FC431C2-C782-4982-85EF-7101E0DA7DEF}" destId="{E48761DF-4A61-48C0-8C89-F100C5D7D38D}" srcOrd="0" destOrd="0" parTransId="{9349FBCE-CBE0-4620-99D9-8A58763D17A0}" sibTransId="{27FDF6B1-652F-4566-8D72-1D8102877FF4}"/>
    <dgm:cxn modelId="{079C046E-40B8-41A2-9960-660472625C8A}" srcId="{EBFE2095-F5AC-4AF6-A300-B9E716196A6B}" destId="{5A0055FD-EF0B-4048-BEC7-67F7FFAEECE1}" srcOrd="1" destOrd="0" parTransId="{9616E823-77B3-48DF-B06A-F623346151F4}" sibTransId="{0B05A406-72E9-4D32-81A2-8B5CADB0262A}"/>
    <dgm:cxn modelId="{646E5E81-A743-4988-A104-706FA2F0C0B1}" type="presOf" srcId="{3FC431C2-C782-4982-85EF-7101E0DA7DEF}" destId="{2553AE57-7F9B-4AEC-B14F-8816CD63B2A4}" srcOrd="0" destOrd="0" presId="urn:microsoft.com/office/officeart/2005/8/layout/vList5"/>
    <dgm:cxn modelId="{972F8392-6FEE-434E-AA5A-6A1134EE2E91}" type="presOf" srcId="{213746DA-85ED-42E5-811A-D4D58BEFDA67}" destId="{23F45B1B-64AE-4F65-AA0D-DA3B7BE4303F}" srcOrd="0" destOrd="0" presId="urn:microsoft.com/office/officeart/2005/8/layout/vList5"/>
    <dgm:cxn modelId="{094516AA-D84E-43F7-AF13-08A0B95E05D4}" srcId="{13596270-67C9-4B7A-A7DD-8B98A3183114}" destId="{C4A534BA-A310-40E4-BCF7-5A6B59BE2D52}" srcOrd="0" destOrd="0" parTransId="{93D74102-1881-493E-98DE-06637E3891BB}" sibTransId="{427248B8-8317-416B-AD97-3C8A8DA09794}"/>
    <dgm:cxn modelId="{289FB9C0-1616-4B38-9166-5994CFDBD34C}" type="presOf" srcId="{EBFE2095-F5AC-4AF6-A300-B9E716196A6B}" destId="{AAD31C3D-7ADE-4C83-B6FB-6BC8823CD1B1}" srcOrd="0" destOrd="0" presId="urn:microsoft.com/office/officeart/2005/8/layout/vList5"/>
    <dgm:cxn modelId="{2C7902CF-2AF5-4B51-AED7-33B92D98AFFF}" srcId="{C4A534BA-A310-40E4-BCF7-5A6B59BE2D52}" destId="{213746DA-85ED-42E5-811A-D4D58BEFDA67}" srcOrd="0" destOrd="0" parTransId="{81A74E21-6B6E-4F47-8FE1-885116B0A93F}" sibTransId="{8BB73698-F38F-4C70-9E00-C55896BBED10}"/>
    <dgm:cxn modelId="{CCAFFFE4-D9E6-4DF9-9BE7-772C68A311A8}" type="presOf" srcId="{C4A534BA-A310-40E4-BCF7-5A6B59BE2D52}" destId="{63766B92-2A1A-4C0A-9D6C-7032EDF3A39C}" srcOrd="0" destOrd="0" presId="urn:microsoft.com/office/officeart/2005/8/layout/vList5"/>
    <dgm:cxn modelId="{214ABEE7-9B73-49BC-A214-915A3D9D3721}" type="presOf" srcId="{D32F1DCE-56A7-4044-8886-68DE6C210C3B}" destId="{23F45B1B-64AE-4F65-AA0D-DA3B7BE4303F}" srcOrd="0" destOrd="1" presId="urn:microsoft.com/office/officeart/2005/8/layout/vList5"/>
    <dgm:cxn modelId="{C4118EE8-526E-49E4-9AD0-F465A14A85F7}" srcId="{EBFE2095-F5AC-4AF6-A300-B9E716196A6B}" destId="{DDC0035B-1BCC-45DD-A5BC-7BBF27F50DD2}" srcOrd="0" destOrd="0" parTransId="{A4867C4B-0B8A-4E89-A5AE-9689D28589CE}" sibTransId="{13471FFB-CC2B-460D-9A18-A8ED1A87A542}"/>
    <dgm:cxn modelId="{FE59E771-61B6-4704-81A5-DB027AD90FD1}" type="presParOf" srcId="{41F8C76C-D8CD-458D-AE2A-BADC5F194AC8}" destId="{7A67E5E3-4CC4-4336-A7A1-C68D48873941}" srcOrd="0" destOrd="0" presId="urn:microsoft.com/office/officeart/2005/8/layout/vList5"/>
    <dgm:cxn modelId="{0D574400-5A98-4751-A297-F85E8272697D}" type="presParOf" srcId="{7A67E5E3-4CC4-4336-A7A1-C68D48873941}" destId="{63766B92-2A1A-4C0A-9D6C-7032EDF3A39C}" srcOrd="0" destOrd="0" presId="urn:microsoft.com/office/officeart/2005/8/layout/vList5"/>
    <dgm:cxn modelId="{CCA08C86-BC3D-45EC-94DA-FFE8F41CE809}" type="presParOf" srcId="{7A67E5E3-4CC4-4336-A7A1-C68D48873941}" destId="{23F45B1B-64AE-4F65-AA0D-DA3B7BE4303F}" srcOrd="1" destOrd="0" presId="urn:microsoft.com/office/officeart/2005/8/layout/vList5"/>
    <dgm:cxn modelId="{A1A682F5-2CCD-4734-A579-B797DF23458D}" type="presParOf" srcId="{41F8C76C-D8CD-458D-AE2A-BADC5F194AC8}" destId="{C87BDE86-B929-4ED6-AC7C-4D27B81046A0}" srcOrd="1" destOrd="0" presId="urn:microsoft.com/office/officeart/2005/8/layout/vList5"/>
    <dgm:cxn modelId="{3BFBE5BC-ED07-4F82-9159-14BCAC869461}" type="presParOf" srcId="{41F8C76C-D8CD-458D-AE2A-BADC5F194AC8}" destId="{D2F3D8D2-91E8-416D-9A32-DDFE956D312A}" srcOrd="2" destOrd="0" presId="urn:microsoft.com/office/officeart/2005/8/layout/vList5"/>
    <dgm:cxn modelId="{414BF0CA-D605-4863-BC95-FA4F0E8A9290}" type="presParOf" srcId="{D2F3D8D2-91E8-416D-9A32-DDFE956D312A}" destId="{AAD31C3D-7ADE-4C83-B6FB-6BC8823CD1B1}" srcOrd="0" destOrd="0" presId="urn:microsoft.com/office/officeart/2005/8/layout/vList5"/>
    <dgm:cxn modelId="{1C1631D1-57F8-4B65-A078-3E3F1574C328}" type="presParOf" srcId="{D2F3D8D2-91E8-416D-9A32-DDFE956D312A}" destId="{0B85CB58-2C90-4CAF-A880-90BFD8247626}" srcOrd="1" destOrd="0" presId="urn:microsoft.com/office/officeart/2005/8/layout/vList5"/>
    <dgm:cxn modelId="{D1B78AB9-B703-417F-A871-B72EB02CC50F}" type="presParOf" srcId="{41F8C76C-D8CD-458D-AE2A-BADC5F194AC8}" destId="{24A0B9F4-DF40-423B-B8EA-0E7E3D4544AD}" srcOrd="3" destOrd="0" presId="urn:microsoft.com/office/officeart/2005/8/layout/vList5"/>
    <dgm:cxn modelId="{169C0D7A-8393-4CC5-8EDB-DB621C78A3E4}" type="presParOf" srcId="{41F8C76C-D8CD-458D-AE2A-BADC5F194AC8}" destId="{098B7C3F-4DA9-4C07-B318-3CECE0C50441}" srcOrd="4" destOrd="0" presId="urn:microsoft.com/office/officeart/2005/8/layout/vList5"/>
    <dgm:cxn modelId="{5ED19B9F-B2AD-4A35-9050-4DABD15FB407}" type="presParOf" srcId="{098B7C3F-4DA9-4C07-B318-3CECE0C50441}" destId="{2553AE57-7F9B-4AEC-B14F-8816CD63B2A4}" srcOrd="0" destOrd="0" presId="urn:microsoft.com/office/officeart/2005/8/layout/vList5"/>
    <dgm:cxn modelId="{41A3B387-40D9-429B-9FF9-5350E67DF802}" type="presParOf" srcId="{098B7C3F-4DA9-4C07-B318-3CECE0C50441}" destId="{6E1ED42A-E1BD-4DF7-9A17-C2EB1B25E5A9}"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1B078C26-0D90-47EA-AA9E-248EB74BB168}" type="doc">
      <dgm:prSet loTypeId="urn:microsoft.com/office/officeart/2005/8/layout/vList5" loCatId="list" qsTypeId="urn:microsoft.com/office/officeart/2005/8/quickstyle/simple1" qsCatId="simple" csTypeId="urn:microsoft.com/office/officeart/2005/8/colors/accent2_2" csCatId="accent2" phldr="1"/>
      <dgm:spPr/>
      <dgm:t>
        <a:bodyPr/>
        <a:lstStyle/>
        <a:p>
          <a:endParaRPr lang="en-US"/>
        </a:p>
      </dgm:t>
    </dgm:pt>
    <dgm:pt modelId="{D1B7CB69-3F2E-4B80-BED7-B2A1DD87588E}">
      <dgm:prSet/>
      <dgm:spPr/>
      <dgm:t>
        <a:bodyPr/>
        <a:lstStyle/>
        <a:p>
          <a:r>
            <a:rPr lang="en-US"/>
            <a:t>Requirements</a:t>
          </a:r>
        </a:p>
      </dgm:t>
    </dgm:pt>
    <dgm:pt modelId="{764D1060-16F7-4688-B80B-CC838D2ABAF1}" type="parTrans" cxnId="{91214775-DBEC-4EB9-A3FB-44C3EBE1EA76}">
      <dgm:prSet/>
      <dgm:spPr/>
      <dgm:t>
        <a:bodyPr/>
        <a:lstStyle/>
        <a:p>
          <a:endParaRPr lang="en-US"/>
        </a:p>
      </dgm:t>
    </dgm:pt>
    <dgm:pt modelId="{50B0A58A-8B16-40B0-8D9A-0C44A9D7E3F0}" type="sibTrans" cxnId="{91214775-DBEC-4EB9-A3FB-44C3EBE1EA76}">
      <dgm:prSet/>
      <dgm:spPr/>
      <dgm:t>
        <a:bodyPr/>
        <a:lstStyle/>
        <a:p>
          <a:endParaRPr lang="en-US"/>
        </a:p>
      </dgm:t>
    </dgm:pt>
    <dgm:pt modelId="{23D30B12-EE50-4999-98EA-2FEF71CDDA04}">
      <dgm:prSet/>
      <dgm:spPr/>
      <dgm:t>
        <a:bodyPr/>
        <a:lstStyle/>
        <a:p>
          <a:r>
            <a:rPr lang="en-US"/>
            <a:t>Have an Azure subscription</a:t>
          </a:r>
        </a:p>
      </dgm:t>
    </dgm:pt>
    <dgm:pt modelId="{588569AE-BFCA-46D2-92B6-D4B6DBC9BD9C}" type="parTrans" cxnId="{001B2B57-0D5E-46A0-A5B6-CD551098D6F1}">
      <dgm:prSet/>
      <dgm:spPr/>
      <dgm:t>
        <a:bodyPr/>
        <a:lstStyle/>
        <a:p>
          <a:endParaRPr lang="en-US"/>
        </a:p>
      </dgm:t>
    </dgm:pt>
    <dgm:pt modelId="{363310C8-B964-4AE8-892B-E4796C79A868}" type="sibTrans" cxnId="{001B2B57-0D5E-46A0-A5B6-CD551098D6F1}">
      <dgm:prSet/>
      <dgm:spPr/>
      <dgm:t>
        <a:bodyPr/>
        <a:lstStyle/>
        <a:p>
          <a:endParaRPr lang="en-US"/>
        </a:p>
      </dgm:t>
    </dgm:pt>
    <dgm:pt modelId="{D26803C7-6498-4BD6-A101-C71D0F1ECAC5}">
      <dgm:prSet/>
      <dgm:spPr/>
      <dgm:t>
        <a:bodyPr/>
        <a:lstStyle/>
        <a:p>
          <a:r>
            <a:rPr lang="en-US" dirty="0"/>
            <a:t>Have permission to purchase from Marketplace</a:t>
          </a:r>
        </a:p>
      </dgm:t>
    </dgm:pt>
    <dgm:pt modelId="{73CAF442-0819-4059-8AAD-7AA16F1A00AE}" type="parTrans" cxnId="{2C966541-A2E6-4DE2-9CA4-BCC5A515B611}">
      <dgm:prSet/>
      <dgm:spPr/>
      <dgm:t>
        <a:bodyPr/>
        <a:lstStyle/>
        <a:p>
          <a:endParaRPr lang="en-US"/>
        </a:p>
      </dgm:t>
    </dgm:pt>
    <dgm:pt modelId="{8715E3CA-DBF7-4E18-80CD-F0625D1530EF}" type="sibTrans" cxnId="{2C966541-A2E6-4DE2-9CA4-BCC5A515B611}">
      <dgm:prSet/>
      <dgm:spPr/>
      <dgm:t>
        <a:bodyPr/>
        <a:lstStyle/>
        <a:p>
          <a:endParaRPr lang="en-US"/>
        </a:p>
      </dgm:t>
    </dgm:pt>
    <dgm:pt modelId="{C96BC5D1-37DA-4B75-A74D-F8FED5B23EB0}">
      <dgm:prSet/>
      <dgm:spPr/>
      <dgm:t>
        <a:bodyPr/>
        <a:lstStyle/>
        <a:p>
          <a:r>
            <a:rPr lang="en-US"/>
            <a:t>Images have different costs</a:t>
          </a:r>
        </a:p>
      </dgm:t>
    </dgm:pt>
    <dgm:pt modelId="{A6018E90-8407-4CA8-B194-81A2FE3BCB52}" type="parTrans" cxnId="{7A21E57C-CB11-47CF-98EC-5A7F247E8C4E}">
      <dgm:prSet/>
      <dgm:spPr/>
      <dgm:t>
        <a:bodyPr/>
        <a:lstStyle/>
        <a:p>
          <a:endParaRPr lang="en-US"/>
        </a:p>
      </dgm:t>
    </dgm:pt>
    <dgm:pt modelId="{3334CF9D-BA6E-4639-A7CC-3BD748CB0801}" type="sibTrans" cxnId="{7A21E57C-CB11-47CF-98EC-5A7F247E8C4E}">
      <dgm:prSet/>
      <dgm:spPr/>
      <dgm:t>
        <a:bodyPr/>
        <a:lstStyle/>
        <a:p>
          <a:endParaRPr lang="en-US"/>
        </a:p>
      </dgm:t>
    </dgm:pt>
    <dgm:pt modelId="{158C1AB7-654E-4BA9-B89C-C4FCB3F82E6E}">
      <dgm:prSet/>
      <dgm:spPr/>
      <dgm:t>
        <a:bodyPr/>
        <a:lstStyle/>
        <a:p>
          <a:r>
            <a:rPr lang="en-US"/>
            <a:t>Size of VM – vCores, RAM, drive space</a:t>
          </a:r>
        </a:p>
      </dgm:t>
    </dgm:pt>
    <dgm:pt modelId="{22196C07-40D6-4AD1-A746-CE3C521C2208}" type="parTrans" cxnId="{A1851F70-80A5-4A9D-ABD3-591D44DEB1C2}">
      <dgm:prSet/>
      <dgm:spPr/>
      <dgm:t>
        <a:bodyPr/>
        <a:lstStyle/>
        <a:p>
          <a:endParaRPr lang="en-US"/>
        </a:p>
      </dgm:t>
    </dgm:pt>
    <dgm:pt modelId="{2DA06EFA-FABC-4807-A109-6D64593CE668}" type="sibTrans" cxnId="{A1851F70-80A5-4A9D-ABD3-591D44DEB1C2}">
      <dgm:prSet/>
      <dgm:spPr/>
      <dgm:t>
        <a:bodyPr/>
        <a:lstStyle/>
        <a:p>
          <a:endParaRPr lang="en-US"/>
        </a:p>
      </dgm:t>
    </dgm:pt>
    <dgm:pt modelId="{1036DC30-68B8-4E43-A018-C936A84536B2}">
      <dgm:prSet/>
      <dgm:spPr/>
      <dgm:t>
        <a:bodyPr/>
        <a:lstStyle/>
        <a:p>
          <a:r>
            <a:rPr lang="en-US"/>
            <a:t>Operating systems</a:t>
          </a:r>
        </a:p>
      </dgm:t>
    </dgm:pt>
    <dgm:pt modelId="{FE0BC4C9-6046-4387-81F4-90DB072C8D08}" type="parTrans" cxnId="{DC51F247-B2A4-440D-AAED-71F01441322E}">
      <dgm:prSet/>
      <dgm:spPr/>
      <dgm:t>
        <a:bodyPr/>
        <a:lstStyle/>
        <a:p>
          <a:endParaRPr lang="en-US"/>
        </a:p>
      </dgm:t>
    </dgm:pt>
    <dgm:pt modelId="{BABB285F-22B4-4D14-B331-1AFDB1021C27}" type="sibTrans" cxnId="{DC51F247-B2A4-440D-AAED-71F01441322E}">
      <dgm:prSet/>
      <dgm:spPr/>
      <dgm:t>
        <a:bodyPr/>
        <a:lstStyle/>
        <a:p>
          <a:endParaRPr lang="en-US"/>
        </a:p>
      </dgm:t>
    </dgm:pt>
    <dgm:pt modelId="{EAE78251-F793-4030-9B56-06D4A8A52BDA}">
      <dgm:prSet/>
      <dgm:spPr/>
      <dgm:t>
        <a:bodyPr/>
        <a:lstStyle/>
        <a:p>
          <a:r>
            <a:rPr lang="en-US"/>
            <a:t>Windows Server</a:t>
          </a:r>
        </a:p>
      </dgm:t>
    </dgm:pt>
    <dgm:pt modelId="{ADC5A13A-4647-45C7-8B22-C90258254ED4}" type="parTrans" cxnId="{83F50568-A4F1-42FF-93F9-24731ADF92F5}">
      <dgm:prSet/>
      <dgm:spPr/>
      <dgm:t>
        <a:bodyPr/>
        <a:lstStyle/>
        <a:p>
          <a:endParaRPr lang="en-US"/>
        </a:p>
      </dgm:t>
    </dgm:pt>
    <dgm:pt modelId="{9DAC8C2E-C4FC-47BA-9032-7E595F0D3DA6}" type="sibTrans" cxnId="{83F50568-A4F1-42FF-93F9-24731ADF92F5}">
      <dgm:prSet/>
      <dgm:spPr/>
      <dgm:t>
        <a:bodyPr/>
        <a:lstStyle/>
        <a:p>
          <a:endParaRPr lang="en-US"/>
        </a:p>
      </dgm:t>
    </dgm:pt>
    <dgm:pt modelId="{6B69E990-96F8-4BF7-87F7-3F68063589E4}">
      <dgm:prSet/>
      <dgm:spPr/>
      <dgm:t>
        <a:bodyPr/>
        <a:lstStyle/>
        <a:p>
          <a:r>
            <a:rPr lang="en-US"/>
            <a:t>Windows Client</a:t>
          </a:r>
        </a:p>
      </dgm:t>
    </dgm:pt>
    <dgm:pt modelId="{3B743B31-B73A-4D93-857F-3E4B42D378A4}" type="parTrans" cxnId="{DF29B736-760F-447A-94B9-DA6A941BD691}">
      <dgm:prSet/>
      <dgm:spPr/>
      <dgm:t>
        <a:bodyPr/>
        <a:lstStyle/>
        <a:p>
          <a:endParaRPr lang="en-US"/>
        </a:p>
      </dgm:t>
    </dgm:pt>
    <dgm:pt modelId="{CCD4B7AA-E8ED-4B86-939E-89BD58CD74A8}" type="sibTrans" cxnId="{DF29B736-760F-447A-94B9-DA6A941BD691}">
      <dgm:prSet/>
      <dgm:spPr/>
      <dgm:t>
        <a:bodyPr/>
        <a:lstStyle/>
        <a:p>
          <a:endParaRPr lang="en-US"/>
        </a:p>
      </dgm:t>
    </dgm:pt>
    <dgm:pt modelId="{46DEE431-D932-4222-8BA6-BD9423CC0A3E}">
      <dgm:prSet/>
      <dgm:spPr/>
      <dgm:t>
        <a:bodyPr/>
        <a:lstStyle/>
        <a:p>
          <a:r>
            <a:rPr lang="en-US"/>
            <a:t>Linux distributions</a:t>
          </a:r>
        </a:p>
      </dgm:t>
    </dgm:pt>
    <dgm:pt modelId="{25F65D24-E499-4AF2-8F37-C7BF25119348}" type="parTrans" cxnId="{076E24B2-F335-4307-A3A2-207D4D08F2A5}">
      <dgm:prSet/>
      <dgm:spPr/>
      <dgm:t>
        <a:bodyPr/>
        <a:lstStyle/>
        <a:p>
          <a:endParaRPr lang="en-US"/>
        </a:p>
      </dgm:t>
    </dgm:pt>
    <dgm:pt modelId="{D950FF82-5B47-497E-B1F4-DAE89FB79626}" type="sibTrans" cxnId="{076E24B2-F335-4307-A3A2-207D4D08F2A5}">
      <dgm:prSet/>
      <dgm:spPr/>
      <dgm:t>
        <a:bodyPr/>
        <a:lstStyle/>
        <a:p>
          <a:endParaRPr lang="en-US"/>
        </a:p>
      </dgm:t>
    </dgm:pt>
    <dgm:pt modelId="{DD8D2D4D-B8ED-4281-AEBA-64728742D586}">
      <dgm:prSet/>
      <dgm:spPr/>
      <dgm:t>
        <a:bodyPr/>
        <a:lstStyle/>
        <a:p>
          <a:r>
            <a:rPr lang="en-US"/>
            <a:t>Steps to purchase</a:t>
          </a:r>
        </a:p>
      </dgm:t>
    </dgm:pt>
    <dgm:pt modelId="{59F67C35-ECD5-4EE2-B5D1-415098B9C7E6}" type="parTrans" cxnId="{0DC4C76C-B217-4A9B-AD54-2E2A0C54D92B}">
      <dgm:prSet/>
      <dgm:spPr/>
      <dgm:t>
        <a:bodyPr/>
        <a:lstStyle/>
        <a:p>
          <a:endParaRPr lang="en-US"/>
        </a:p>
      </dgm:t>
    </dgm:pt>
    <dgm:pt modelId="{7D840010-C704-41D2-A49E-C9A21ACFC469}" type="sibTrans" cxnId="{0DC4C76C-B217-4A9B-AD54-2E2A0C54D92B}">
      <dgm:prSet/>
      <dgm:spPr/>
      <dgm:t>
        <a:bodyPr/>
        <a:lstStyle/>
        <a:p>
          <a:endParaRPr lang="en-US"/>
        </a:p>
      </dgm:t>
    </dgm:pt>
    <dgm:pt modelId="{1B246710-70D4-4835-A654-C2C5970EC502}">
      <dgm:prSet/>
      <dgm:spPr/>
      <dgm:t>
        <a:bodyPr/>
        <a:lstStyle/>
        <a:p>
          <a:r>
            <a:rPr lang="en-US">
              <a:hlinkClick xmlns:r="http://schemas.openxmlformats.org/officeDocument/2006/relationships" r:id="rId1"/>
            </a:rPr>
            <a:t>https://portal.azure.com</a:t>
          </a:r>
          <a:r>
            <a:rPr lang="en-US"/>
            <a:t> </a:t>
          </a:r>
        </a:p>
      </dgm:t>
    </dgm:pt>
    <dgm:pt modelId="{819B7E52-44FC-4A91-A4DC-947DAE6F7626}" type="parTrans" cxnId="{321E2737-BBF7-4EB6-BD8A-05AF90F250E1}">
      <dgm:prSet/>
      <dgm:spPr/>
      <dgm:t>
        <a:bodyPr/>
        <a:lstStyle/>
        <a:p>
          <a:endParaRPr lang="en-US"/>
        </a:p>
      </dgm:t>
    </dgm:pt>
    <dgm:pt modelId="{22891F87-7682-4BB3-BA87-E8A89ADA1507}" type="sibTrans" cxnId="{321E2737-BBF7-4EB6-BD8A-05AF90F250E1}">
      <dgm:prSet/>
      <dgm:spPr/>
      <dgm:t>
        <a:bodyPr/>
        <a:lstStyle/>
        <a:p>
          <a:endParaRPr lang="en-US"/>
        </a:p>
      </dgm:t>
    </dgm:pt>
    <dgm:pt modelId="{CAE63069-538A-439E-A4E5-3213FD702740}" type="pres">
      <dgm:prSet presAssocID="{1B078C26-0D90-47EA-AA9E-248EB74BB168}" presName="Name0" presStyleCnt="0">
        <dgm:presLayoutVars>
          <dgm:dir/>
          <dgm:animLvl val="lvl"/>
          <dgm:resizeHandles val="exact"/>
        </dgm:presLayoutVars>
      </dgm:prSet>
      <dgm:spPr/>
    </dgm:pt>
    <dgm:pt modelId="{BFB7BE05-D9FD-41F0-8360-129874A82501}" type="pres">
      <dgm:prSet presAssocID="{D1B7CB69-3F2E-4B80-BED7-B2A1DD87588E}" presName="linNode" presStyleCnt="0"/>
      <dgm:spPr/>
    </dgm:pt>
    <dgm:pt modelId="{C29DC169-38AE-4F26-AC96-DDE36686F37D}" type="pres">
      <dgm:prSet presAssocID="{D1B7CB69-3F2E-4B80-BED7-B2A1DD87588E}" presName="parentText" presStyleLbl="node1" presStyleIdx="0" presStyleCnt="3">
        <dgm:presLayoutVars>
          <dgm:chMax val="1"/>
          <dgm:bulletEnabled val="1"/>
        </dgm:presLayoutVars>
      </dgm:prSet>
      <dgm:spPr/>
    </dgm:pt>
    <dgm:pt modelId="{54CC4ACC-2BFC-49E4-9A40-C9A80A9F2728}" type="pres">
      <dgm:prSet presAssocID="{D1B7CB69-3F2E-4B80-BED7-B2A1DD87588E}" presName="descendantText" presStyleLbl="alignAccFollowNode1" presStyleIdx="0" presStyleCnt="3">
        <dgm:presLayoutVars>
          <dgm:bulletEnabled val="1"/>
        </dgm:presLayoutVars>
      </dgm:prSet>
      <dgm:spPr/>
    </dgm:pt>
    <dgm:pt modelId="{9D65382F-89E7-43AC-BC24-79FE539CA80A}" type="pres">
      <dgm:prSet presAssocID="{50B0A58A-8B16-40B0-8D9A-0C44A9D7E3F0}" presName="sp" presStyleCnt="0"/>
      <dgm:spPr/>
    </dgm:pt>
    <dgm:pt modelId="{8208121D-A2D5-4D65-9A19-74A4B0F687C6}" type="pres">
      <dgm:prSet presAssocID="{C96BC5D1-37DA-4B75-A74D-F8FED5B23EB0}" presName="linNode" presStyleCnt="0"/>
      <dgm:spPr/>
    </dgm:pt>
    <dgm:pt modelId="{74247D1F-5644-4C65-964E-6973B989476C}" type="pres">
      <dgm:prSet presAssocID="{C96BC5D1-37DA-4B75-A74D-F8FED5B23EB0}" presName="parentText" presStyleLbl="node1" presStyleIdx="1" presStyleCnt="3">
        <dgm:presLayoutVars>
          <dgm:chMax val="1"/>
          <dgm:bulletEnabled val="1"/>
        </dgm:presLayoutVars>
      </dgm:prSet>
      <dgm:spPr/>
    </dgm:pt>
    <dgm:pt modelId="{B047D45A-07A4-47C2-A3E4-56F64694BBF7}" type="pres">
      <dgm:prSet presAssocID="{C96BC5D1-37DA-4B75-A74D-F8FED5B23EB0}" presName="descendantText" presStyleLbl="alignAccFollowNode1" presStyleIdx="1" presStyleCnt="3">
        <dgm:presLayoutVars>
          <dgm:bulletEnabled val="1"/>
        </dgm:presLayoutVars>
      </dgm:prSet>
      <dgm:spPr/>
    </dgm:pt>
    <dgm:pt modelId="{6448E296-B97A-49A1-BD93-FAF9664F12C6}" type="pres">
      <dgm:prSet presAssocID="{3334CF9D-BA6E-4639-A7CC-3BD748CB0801}" presName="sp" presStyleCnt="0"/>
      <dgm:spPr/>
    </dgm:pt>
    <dgm:pt modelId="{C2670BB5-01F8-4E8D-9F39-B4EDD2FFFEFC}" type="pres">
      <dgm:prSet presAssocID="{DD8D2D4D-B8ED-4281-AEBA-64728742D586}" presName="linNode" presStyleCnt="0"/>
      <dgm:spPr/>
    </dgm:pt>
    <dgm:pt modelId="{01B08FE3-A3C7-4EB1-A956-022014E84DD1}" type="pres">
      <dgm:prSet presAssocID="{DD8D2D4D-B8ED-4281-AEBA-64728742D586}" presName="parentText" presStyleLbl="node1" presStyleIdx="2" presStyleCnt="3">
        <dgm:presLayoutVars>
          <dgm:chMax val="1"/>
          <dgm:bulletEnabled val="1"/>
        </dgm:presLayoutVars>
      </dgm:prSet>
      <dgm:spPr/>
    </dgm:pt>
    <dgm:pt modelId="{4FA615A1-1FE4-46D7-AF66-5EAB68127F7C}" type="pres">
      <dgm:prSet presAssocID="{DD8D2D4D-B8ED-4281-AEBA-64728742D586}" presName="descendantText" presStyleLbl="alignAccFollowNode1" presStyleIdx="2" presStyleCnt="3">
        <dgm:presLayoutVars>
          <dgm:bulletEnabled val="1"/>
        </dgm:presLayoutVars>
      </dgm:prSet>
      <dgm:spPr/>
    </dgm:pt>
  </dgm:ptLst>
  <dgm:cxnLst>
    <dgm:cxn modelId="{DF29B736-760F-447A-94B9-DA6A941BD691}" srcId="{1036DC30-68B8-4E43-A018-C936A84536B2}" destId="{6B69E990-96F8-4BF7-87F7-3F68063589E4}" srcOrd="1" destOrd="0" parTransId="{3B743B31-B73A-4D93-857F-3E4B42D378A4}" sibTransId="{CCD4B7AA-E8ED-4B86-939E-89BD58CD74A8}"/>
    <dgm:cxn modelId="{321E2737-BBF7-4EB6-BD8A-05AF90F250E1}" srcId="{DD8D2D4D-B8ED-4281-AEBA-64728742D586}" destId="{1B246710-70D4-4835-A654-C2C5970EC502}" srcOrd="0" destOrd="0" parTransId="{819B7E52-44FC-4A91-A4DC-947DAE6F7626}" sibTransId="{22891F87-7682-4BB3-BA87-E8A89ADA1507}"/>
    <dgm:cxn modelId="{8653065E-938E-43B7-BF26-B7F17EA1ADEE}" type="presOf" srcId="{6B69E990-96F8-4BF7-87F7-3F68063589E4}" destId="{B047D45A-07A4-47C2-A3E4-56F64694BBF7}" srcOrd="0" destOrd="3" presId="urn:microsoft.com/office/officeart/2005/8/layout/vList5"/>
    <dgm:cxn modelId="{2C966541-A2E6-4DE2-9CA4-BCC5A515B611}" srcId="{D1B7CB69-3F2E-4B80-BED7-B2A1DD87588E}" destId="{D26803C7-6498-4BD6-A101-C71D0F1ECAC5}" srcOrd="1" destOrd="0" parTransId="{73CAF442-0819-4059-8AAD-7AA16F1A00AE}" sibTransId="{8715E3CA-DBF7-4E18-80CD-F0625D1530EF}"/>
    <dgm:cxn modelId="{97D1B762-4B9B-4F98-9970-56E75826FA4D}" type="presOf" srcId="{D1B7CB69-3F2E-4B80-BED7-B2A1DD87588E}" destId="{C29DC169-38AE-4F26-AC96-DDE36686F37D}" srcOrd="0" destOrd="0" presId="urn:microsoft.com/office/officeart/2005/8/layout/vList5"/>
    <dgm:cxn modelId="{5EB8CC64-6792-4304-9041-A9DE193AEAB2}" type="presOf" srcId="{46DEE431-D932-4222-8BA6-BD9423CC0A3E}" destId="{B047D45A-07A4-47C2-A3E4-56F64694BBF7}" srcOrd="0" destOrd="4" presId="urn:microsoft.com/office/officeart/2005/8/layout/vList5"/>
    <dgm:cxn modelId="{01028246-32A4-4BA8-BD94-6B7F0B133772}" type="presOf" srcId="{23D30B12-EE50-4999-98EA-2FEF71CDDA04}" destId="{54CC4ACC-2BFC-49E4-9A40-C9A80A9F2728}" srcOrd="0" destOrd="0" presId="urn:microsoft.com/office/officeart/2005/8/layout/vList5"/>
    <dgm:cxn modelId="{DC51F247-B2A4-440D-AAED-71F01441322E}" srcId="{C96BC5D1-37DA-4B75-A74D-F8FED5B23EB0}" destId="{1036DC30-68B8-4E43-A018-C936A84536B2}" srcOrd="1" destOrd="0" parTransId="{FE0BC4C9-6046-4387-81F4-90DB072C8D08}" sibTransId="{BABB285F-22B4-4D14-B331-1AFDB1021C27}"/>
    <dgm:cxn modelId="{83F50568-A4F1-42FF-93F9-24731ADF92F5}" srcId="{1036DC30-68B8-4E43-A018-C936A84536B2}" destId="{EAE78251-F793-4030-9B56-06D4A8A52BDA}" srcOrd="0" destOrd="0" parTransId="{ADC5A13A-4647-45C7-8B22-C90258254ED4}" sibTransId="{9DAC8C2E-C4FC-47BA-9032-7E595F0D3DA6}"/>
    <dgm:cxn modelId="{0DC4C76C-B217-4A9B-AD54-2E2A0C54D92B}" srcId="{1B078C26-0D90-47EA-AA9E-248EB74BB168}" destId="{DD8D2D4D-B8ED-4281-AEBA-64728742D586}" srcOrd="2" destOrd="0" parTransId="{59F67C35-ECD5-4EE2-B5D1-415098B9C7E6}" sibTransId="{7D840010-C704-41D2-A49E-C9A21ACFC469}"/>
    <dgm:cxn modelId="{9D16876F-35C3-4A51-831E-46B4C9AB89F9}" type="presOf" srcId="{D26803C7-6498-4BD6-A101-C71D0F1ECAC5}" destId="{54CC4ACC-2BFC-49E4-9A40-C9A80A9F2728}" srcOrd="0" destOrd="1" presId="urn:microsoft.com/office/officeart/2005/8/layout/vList5"/>
    <dgm:cxn modelId="{A1851F70-80A5-4A9D-ABD3-591D44DEB1C2}" srcId="{C96BC5D1-37DA-4B75-A74D-F8FED5B23EB0}" destId="{158C1AB7-654E-4BA9-B89C-C4FCB3F82E6E}" srcOrd="0" destOrd="0" parTransId="{22196C07-40D6-4AD1-A746-CE3C521C2208}" sibTransId="{2DA06EFA-FABC-4807-A109-6D64593CE668}"/>
    <dgm:cxn modelId="{40C0A870-DA01-4EC7-8CA9-9C2AED671874}" type="presOf" srcId="{1036DC30-68B8-4E43-A018-C936A84536B2}" destId="{B047D45A-07A4-47C2-A3E4-56F64694BBF7}" srcOrd="0" destOrd="1" presId="urn:microsoft.com/office/officeart/2005/8/layout/vList5"/>
    <dgm:cxn modelId="{91214775-DBEC-4EB9-A3FB-44C3EBE1EA76}" srcId="{1B078C26-0D90-47EA-AA9E-248EB74BB168}" destId="{D1B7CB69-3F2E-4B80-BED7-B2A1DD87588E}" srcOrd="0" destOrd="0" parTransId="{764D1060-16F7-4688-B80B-CC838D2ABAF1}" sibTransId="{50B0A58A-8B16-40B0-8D9A-0C44A9D7E3F0}"/>
    <dgm:cxn modelId="{001B2B57-0D5E-46A0-A5B6-CD551098D6F1}" srcId="{D1B7CB69-3F2E-4B80-BED7-B2A1DD87588E}" destId="{23D30B12-EE50-4999-98EA-2FEF71CDDA04}" srcOrd="0" destOrd="0" parTransId="{588569AE-BFCA-46D2-92B6-D4B6DBC9BD9C}" sibTransId="{363310C8-B964-4AE8-892B-E4796C79A868}"/>
    <dgm:cxn modelId="{7A21E57C-CB11-47CF-98EC-5A7F247E8C4E}" srcId="{1B078C26-0D90-47EA-AA9E-248EB74BB168}" destId="{C96BC5D1-37DA-4B75-A74D-F8FED5B23EB0}" srcOrd="1" destOrd="0" parTransId="{A6018E90-8407-4CA8-B194-81A2FE3BCB52}" sibTransId="{3334CF9D-BA6E-4639-A7CC-3BD748CB0801}"/>
    <dgm:cxn modelId="{8F3BCC8E-4696-4BCD-8847-60883D79BD26}" type="presOf" srcId="{158C1AB7-654E-4BA9-B89C-C4FCB3F82E6E}" destId="{B047D45A-07A4-47C2-A3E4-56F64694BBF7}" srcOrd="0" destOrd="0" presId="urn:microsoft.com/office/officeart/2005/8/layout/vList5"/>
    <dgm:cxn modelId="{B126459D-1A34-4B69-BB0C-D1A110465C48}" type="presOf" srcId="{C96BC5D1-37DA-4B75-A74D-F8FED5B23EB0}" destId="{74247D1F-5644-4C65-964E-6973B989476C}" srcOrd="0" destOrd="0" presId="urn:microsoft.com/office/officeart/2005/8/layout/vList5"/>
    <dgm:cxn modelId="{076E24B2-F335-4307-A3A2-207D4D08F2A5}" srcId="{1036DC30-68B8-4E43-A018-C936A84536B2}" destId="{46DEE431-D932-4222-8BA6-BD9423CC0A3E}" srcOrd="2" destOrd="0" parTransId="{25F65D24-E499-4AF2-8F37-C7BF25119348}" sibTransId="{D950FF82-5B47-497E-B1F4-DAE89FB79626}"/>
    <dgm:cxn modelId="{547CCDC2-7F05-4683-96C1-29C154CBE917}" type="presOf" srcId="{EAE78251-F793-4030-9B56-06D4A8A52BDA}" destId="{B047D45A-07A4-47C2-A3E4-56F64694BBF7}" srcOrd="0" destOrd="2" presId="urn:microsoft.com/office/officeart/2005/8/layout/vList5"/>
    <dgm:cxn modelId="{2B1D6BD9-32E0-471B-9867-2FBCF432FD99}" type="presOf" srcId="{1B246710-70D4-4835-A654-C2C5970EC502}" destId="{4FA615A1-1FE4-46D7-AF66-5EAB68127F7C}" srcOrd="0" destOrd="0" presId="urn:microsoft.com/office/officeart/2005/8/layout/vList5"/>
    <dgm:cxn modelId="{2018D3EF-490D-440D-AD07-F8A53FA1844B}" type="presOf" srcId="{1B078C26-0D90-47EA-AA9E-248EB74BB168}" destId="{CAE63069-538A-439E-A4E5-3213FD702740}" srcOrd="0" destOrd="0" presId="urn:microsoft.com/office/officeart/2005/8/layout/vList5"/>
    <dgm:cxn modelId="{5FDD70FE-90D9-4712-B816-15DB5DB22EDD}" type="presOf" srcId="{DD8D2D4D-B8ED-4281-AEBA-64728742D586}" destId="{01B08FE3-A3C7-4EB1-A956-022014E84DD1}" srcOrd="0" destOrd="0" presId="urn:microsoft.com/office/officeart/2005/8/layout/vList5"/>
    <dgm:cxn modelId="{8CA6DC69-4B90-433E-901A-DE9B6F3A0E29}" type="presParOf" srcId="{CAE63069-538A-439E-A4E5-3213FD702740}" destId="{BFB7BE05-D9FD-41F0-8360-129874A82501}" srcOrd="0" destOrd="0" presId="urn:microsoft.com/office/officeart/2005/8/layout/vList5"/>
    <dgm:cxn modelId="{01FA3A0A-97C1-48D7-944D-C4928F1184B2}" type="presParOf" srcId="{BFB7BE05-D9FD-41F0-8360-129874A82501}" destId="{C29DC169-38AE-4F26-AC96-DDE36686F37D}" srcOrd="0" destOrd="0" presId="urn:microsoft.com/office/officeart/2005/8/layout/vList5"/>
    <dgm:cxn modelId="{5304657C-A695-4E3B-B975-EE17BC979F37}" type="presParOf" srcId="{BFB7BE05-D9FD-41F0-8360-129874A82501}" destId="{54CC4ACC-2BFC-49E4-9A40-C9A80A9F2728}" srcOrd="1" destOrd="0" presId="urn:microsoft.com/office/officeart/2005/8/layout/vList5"/>
    <dgm:cxn modelId="{BDC6FEC0-348E-41F6-8B17-ACE626C48E84}" type="presParOf" srcId="{CAE63069-538A-439E-A4E5-3213FD702740}" destId="{9D65382F-89E7-43AC-BC24-79FE539CA80A}" srcOrd="1" destOrd="0" presId="urn:microsoft.com/office/officeart/2005/8/layout/vList5"/>
    <dgm:cxn modelId="{047BF9BF-5BE9-4695-94AE-DD33342E9313}" type="presParOf" srcId="{CAE63069-538A-439E-A4E5-3213FD702740}" destId="{8208121D-A2D5-4D65-9A19-74A4B0F687C6}" srcOrd="2" destOrd="0" presId="urn:microsoft.com/office/officeart/2005/8/layout/vList5"/>
    <dgm:cxn modelId="{48D5C0DA-DF93-484D-93EB-93B6C6ACAEB9}" type="presParOf" srcId="{8208121D-A2D5-4D65-9A19-74A4B0F687C6}" destId="{74247D1F-5644-4C65-964E-6973B989476C}" srcOrd="0" destOrd="0" presId="urn:microsoft.com/office/officeart/2005/8/layout/vList5"/>
    <dgm:cxn modelId="{DE052E91-E4F6-44E9-86CF-A5C36EB4115B}" type="presParOf" srcId="{8208121D-A2D5-4D65-9A19-74A4B0F687C6}" destId="{B047D45A-07A4-47C2-A3E4-56F64694BBF7}" srcOrd="1" destOrd="0" presId="urn:microsoft.com/office/officeart/2005/8/layout/vList5"/>
    <dgm:cxn modelId="{C299E72A-04DA-4194-82D6-697828AA94AE}" type="presParOf" srcId="{CAE63069-538A-439E-A4E5-3213FD702740}" destId="{6448E296-B97A-49A1-BD93-FAF9664F12C6}" srcOrd="3" destOrd="0" presId="urn:microsoft.com/office/officeart/2005/8/layout/vList5"/>
    <dgm:cxn modelId="{19BE0A38-744F-4660-BE94-21930395243A}" type="presParOf" srcId="{CAE63069-538A-439E-A4E5-3213FD702740}" destId="{C2670BB5-01F8-4E8D-9F39-B4EDD2FFFEFC}" srcOrd="4" destOrd="0" presId="urn:microsoft.com/office/officeart/2005/8/layout/vList5"/>
    <dgm:cxn modelId="{E06B7206-AF8A-40DD-AB00-B8DFC111C9D8}" type="presParOf" srcId="{C2670BB5-01F8-4E8D-9F39-B4EDD2FFFEFC}" destId="{01B08FE3-A3C7-4EB1-A956-022014E84DD1}" srcOrd="0" destOrd="0" presId="urn:microsoft.com/office/officeart/2005/8/layout/vList5"/>
    <dgm:cxn modelId="{8285B606-10D4-4444-90ED-2573BB501BE4}" type="presParOf" srcId="{C2670BB5-01F8-4E8D-9F39-B4EDD2FFFEFC}" destId="{4FA615A1-1FE4-46D7-AF66-5EAB68127F7C}"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E0F82A4-A1C0-43AF-8189-756E948F4899}">
      <dsp:nvSpPr>
        <dsp:cNvPr id="0" name=""/>
        <dsp:cNvSpPr/>
      </dsp:nvSpPr>
      <dsp:spPr>
        <a:xfrm rot="5400000">
          <a:off x="6549625" y="-2346988"/>
          <a:ext cx="1886368" cy="7052056"/>
        </a:xfrm>
        <a:prstGeom prst="round2Same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2390" tIns="36195" rIns="72390" bIns="36195" numCol="1" spcCol="1270" anchor="ctr" anchorCtr="0">
          <a:noAutofit/>
        </a:bodyPr>
        <a:lstStyle/>
        <a:p>
          <a:pPr marL="171450" lvl="1" indent="-171450" algn="l" defTabSz="844550">
            <a:lnSpc>
              <a:spcPct val="90000"/>
            </a:lnSpc>
            <a:spcBef>
              <a:spcPct val="0"/>
            </a:spcBef>
            <a:spcAft>
              <a:spcPct val="15000"/>
            </a:spcAft>
            <a:buChar char="•"/>
          </a:pPr>
          <a:r>
            <a:rPr lang="en-US" sz="1900" kern="1200"/>
            <a:t>Searchable tool</a:t>
          </a:r>
        </a:p>
        <a:p>
          <a:pPr marL="171450" lvl="1" indent="-171450" algn="l" defTabSz="844550">
            <a:lnSpc>
              <a:spcPct val="90000"/>
            </a:lnSpc>
            <a:spcBef>
              <a:spcPct val="0"/>
            </a:spcBef>
            <a:spcAft>
              <a:spcPct val="15000"/>
            </a:spcAft>
            <a:buChar char="•"/>
          </a:pPr>
          <a:r>
            <a:rPr lang="en-US" sz="1900" kern="1200"/>
            <a:t>Trial licenses available</a:t>
          </a:r>
        </a:p>
        <a:p>
          <a:pPr marL="171450" lvl="1" indent="-171450" algn="l" defTabSz="844550">
            <a:lnSpc>
              <a:spcPct val="90000"/>
            </a:lnSpc>
            <a:spcBef>
              <a:spcPct val="0"/>
            </a:spcBef>
            <a:spcAft>
              <a:spcPct val="15000"/>
            </a:spcAft>
            <a:buChar char="•"/>
          </a:pPr>
          <a:r>
            <a:rPr lang="en-US" sz="1900" kern="1200"/>
            <a:t>Easily buy and deploy solutions</a:t>
          </a:r>
        </a:p>
        <a:p>
          <a:pPr marL="171450" lvl="1" indent="-171450" algn="l" defTabSz="844550">
            <a:lnSpc>
              <a:spcPct val="90000"/>
            </a:lnSpc>
            <a:spcBef>
              <a:spcPct val="0"/>
            </a:spcBef>
            <a:spcAft>
              <a:spcPct val="15000"/>
            </a:spcAft>
            <a:buChar char="•"/>
          </a:pPr>
          <a:r>
            <a:rPr lang="en-US" sz="1900" kern="1200"/>
            <a:t>Use existing Microsoft purchase agreements for consolidated invoice</a:t>
          </a:r>
        </a:p>
      </dsp:txBody>
      <dsp:txXfrm rot="-5400000">
        <a:off x="3966782" y="327940"/>
        <a:ext cx="6959971" cy="1702198"/>
      </dsp:txXfrm>
    </dsp:sp>
    <dsp:sp modelId="{D320E2F0-CCF0-4AF2-9463-C12CAE11DD58}">
      <dsp:nvSpPr>
        <dsp:cNvPr id="0" name=""/>
        <dsp:cNvSpPr/>
      </dsp:nvSpPr>
      <dsp:spPr>
        <a:xfrm>
          <a:off x="0" y="59"/>
          <a:ext cx="3966781" cy="2357960"/>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1930" tIns="100965" rIns="201930" bIns="100965" numCol="1" spcCol="1270" anchor="ctr" anchorCtr="0">
          <a:noAutofit/>
        </a:bodyPr>
        <a:lstStyle/>
        <a:p>
          <a:pPr marL="0" lvl="0" indent="0" algn="ctr" defTabSz="2355850">
            <a:lnSpc>
              <a:spcPct val="90000"/>
            </a:lnSpc>
            <a:spcBef>
              <a:spcPct val="0"/>
            </a:spcBef>
            <a:spcAft>
              <a:spcPct val="35000"/>
            </a:spcAft>
            <a:buNone/>
          </a:pPr>
          <a:r>
            <a:rPr lang="en-US" sz="5300" kern="1200"/>
            <a:t>Customers</a:t>
          </a:r>
        </a:p>
      </dsp:txBody>
      <dsp:txXfrm>
        <a:off x="115106" y="115165"/>
        <a:ext cx="3736569" cy="2127748"/>
      </dsp:txXfrm>
    </dsp:sp>
    <dsp:sp modelId="{D60B7971-9744-4CAF-A5AE-CAAD9661EF26}">
      <dsp:nvSpPr>
        <dsp:cNvPr id="0" name=""/>
        <dsp:cNvSpPr/>
      </dsp:nvSpPr>
      <dsp:spPr>
        <a:xfrm rot="5400000">
          <a:off x="6549625" y="128870"/>
          <a:ext cx="1886368" cy="7052056"/>
        </a:xfrm>
        <a:prstGeom prst="round2Same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2390" tIns="36195" rIns="72390" bIns="36195" numCol="1" spcCol="1270" anchor="ctr" anchorCtr="0">
          <a:noAutofit/>
        </a:bodyPr>
        <a:lstStyle/>
        <a:p>
          <a:pPr marL="171450" lvl="1" indent="-171450" algn="l" defTabSz="844550">
            <a:lnSpc>
              <a:spcPct val="90000"/>
            </a:lnSpc>
            <a:spcBef>
              <a:spcPct val="0"/>
            </a:spcBef>
            <a:spcAft>
              <a:spcPct val="15000"/>
            </a:spcAft>
            <a:buChar char="•"/>
          </a:pPr>
          <a:r>
            <a:rPr lang="en-US" sz="1900" kern="1200"/>
            <a:t>Test solutions in Microsoft Azure infrastructure</a:t>
          </a:r>
        </a:p>
        <a:p>
          <a:pPr marL="171450" lvl="1" indent="-171450" algn="l" defTabSz="844550">
            <a:lnSpc>
              <a:spcPct val="90000"/>
            </a:lnSpc>
            <a:spcBef>
              <a:spcPct val="0"/>
            </a:spcBef>
            <a:spcAft>
              <a:spcPct val="15000"/>
            </a:spcAft>
            <a:buChar char="•"/>
          </a:pPr>
          <a:r>
            <a:rPr lang="en-US" sz="1900" kern="1200"/>
            <a:t>Create your own offers for an additional sales and marketing channel</a:t>
          </a:r>
        </a:p>
        <a:p>
          <a:pPr marL="171450" lvl="1" indent="-171450" algn="l" defTabSz="844550">
            <a:lnSpc>
              <a:spcPct val="90000"/>
            </a:lnSpc>
            <a:spcBef>
              <a:spcPct val="0"/>
            </a:spcBef>
            <a:spcAft>
              <a:spcPct val="15000"/>
            </a:spcAft>
            <a:buChar char="•"/>
          </a:pPr>
          <a:r>
            <a:rPr lang="en-US" sz="1900" kern="1200"/>
            <a:t>Reach more customers</a:t>
          </a:r>
        </a:p>
      </dsp:txBody>
      <dsp:txXfrm rot="-5400000">
        <a:off x="3966782" y="2803799"/>
        <a:ext cx="6959971" cy="1702198"/>
      </dsp:txXfrm>
    </dsp:sp>
    <dsp:sp modelId="{7896717C-DCF7-431F-A814-13A2C0BF99B3}">
      <dsp:nvSpPr>
        <dsp:cNvPr id="0" name=""/>
        <dsp:cNvSpPr/>
      </dsp:nvSpPr>
      <dsp:spPr>
        <a:xfrm>
          <a:off x="0" y="2475918"/>
          <a:ext cx="3966781" cy="2357960"/>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1930" tIns="100965" rIns="201930" bIns="100965" numCol="1" spcCol="1270" anchor="ctr" anchorCtr="0">
          <a:noAutofit/>
        </a:bodyPr>
        <a:lstStyle/>
        <a:p>
          <a:pPr marL="0" lvl="0" indent="0" algn="ctr" defTabSz="2355850">
            <a:lnSpc>
              <a:spcPct val="90000"/>
            </a:lnSpc>
            <a:spcBef>
              <a:spcPct val="0"/>
            </a:spcBef>
            <a:spcAft>
              <a:spcPct val="35000"/>
            </a:spcAft>
            <a:buNone/>
          </a:pPr>
          <a:r>
            <a:rPr lang="en-US" sz="5300" kern="1200"/>
            <a:t>Partners</a:t>
          </a:r>
        </a:p>
      </dsp:txBody>
      <dsp:txXfrm>
        <a:off x="115106" y="2591024"/>
        <a:ext cx="3736569" cy="2127748"/>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B670BEC-6173-4E03-BA35-B9F4930FBEAF}">
      <dsp:nvSpPr>
        <dsp:cNvPr id="0" name=""/>
        <dsp:cNvSpPr/>
      </dsp:nvSpPr>
      <dsp:spPr>
        <a:xfrm>
          <a:off x="3443" y="71129"/>
          <a:ext cx="3357302" cy="973061"/>
        </a:xfrm>
        <a:prstGeom prst="rect">
          <a:avLst/>
        </a:prstGeom>
        <a:solidFill>
          <a:schemeClr val="accent2">
            <a:hueOff val="0"/>
            <a:satOff val="0"/>
            <a:lumOff val="0"/>
            <a:alphaOff val="0"/>
          </a:schemeClr>
        </a:solidFill>
        <a:ln w="9525" cap="flat" cmpd="sng" algn="ctr">
          <a:solidFill>
            <a:schemeClr val="accent2">
              <a:hueOff val="0"/>
              <a:satOff val="0"/>
              <a:lumOff val="0"/>
              <a:alphaOff val="0"/>
            </a:schemeClr>
          </a:solidFill>
          <a:prstDash val="solid"/>
        </a:ln>
        <a:effectLst/>
      </dsp:spPr>
      <dsp:style>
        <a:lnRef idx="1">
          <a:scrgbClr r="0" g="0" b="0"/>
        </a:lnRef>
        <a:fillRef idx="3">
          <a:scrgbClr r="0" g="0" b="0"/>
        </a:fillRef>
        <a:effectRef idx="2">
          <a:scrgbClr r="0" g="0" b="0"/>
        </a:effectRef>
        <a:fontRef idx="minor">
          <a:schemeClr val="lt1"/>
        </a:fontRef>
      </dsp:style>
      <dsp:txBody>
        <a:bodyPr spcFirstLastPara="0" vert="horz" wrap="square" lIns="177800" tIns="101600" rIns="177800" bIns="101600" numCol="1" spcCol="1270" anchor="ctr" anchorCtr="0">
          <a:noAutofit/>
        </a:bodyPr>
        <a:lstStyle/>
        <a:p>
          <a:pPr marL="0" lvl="0" indent="0" algn="ctr" defTabSz="1111250">
            <a:lnSpc>
              <a:spcPct val="90000"/>
            </a:lnSpc>
            <a:spcBef>
              <a:spcPct val="0"/>
            </a:spcBef>
            <a:spcAft>
              <a:spcPct val="35000"/>
            </a:spcAft>
            <a:buNone/>
          </a:pPr>
          <a:r>
            <a:rPr lang="en-US" sz="2500" kern="1200" baseline="0"/>
            <a:t>Requirements</a:t>
          </a:r>
          <a:endParaRPr lang="en-US" sz="2500" kern="1200"/>
        </a:p>
      </dsp:txBody>
      <dsp:txXfrm>
        <a:off x="3443" y="71129"/>
        <a:ext cx="3357302" cy="973061"/>
      </dsp:txXfrm>
    </dsp:sp>
    <dsp:sp modelId="{5F19CBB4-8CCA-411A-9DBD-938E9C1C1CF8}">
      <dsp:nvSpPr>
        <dsp:cNvPr id="0" name=""/>
        <dsp:cNvSpPr/>
      </dsp:nvSpPr>
      <dsp:spPr>
        <a:xfrm>
          <a:off x="3443" y="1044191"/>
          <a:ext cx="3357302" cy="3718617"/>
        </a:xfrm>
        <a:prstGeom prst="rect">
          <a:avLst/>
        </a:prstGeom>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33350" tIns="133350" rIns="177800" bIns="200025" numCol="1" spcCol="1270" anchor="t" anchorCtr="0">
          <a:noAutofit/>
        </a:bodyPr>
        <a:lstStyle/>
        <a:p>
          <a:pPr marL="228600" lvl="1" indent="-228600" algn="l" defTabSz="1111250">
            <a:lnSpc>
              <a:spcPct val="90000"/>
            </a:lnSpc>
            <a:spcBef>
              <a:spcPct val="0"/>
            </a:spcBef>
            <a:spcAft>
              <a:spcPct val="15000"/>
            </a:spcAft>
            <a:buChar char="•"/>
          </a:pPr>
          <a:r>
            <a:rPr lang="en-US" sz="2500" kern="1200" baseline="0"/>
            <a:t>Have an Azure subscription</a:t>
          </a:r>
          <a:endParaRPr lang="en-US" sz="2500" kern="1200"/>
        </a:p>
        <a:p>
          <a:pPr marL="228600" lvl="1" indent="-228600" algn="l" defTabSz="1111250">
            <a:lnSpc>
              <a:spcPct val="90000"/>
            </a:lnSpc>
            <a:spcBef>
              <a:spcPct val="0"/>
            </a:spcBef>
            <a:spcAft>
              <a:spcPct val="15000"/>
            </a:spcAft>
            <a:buChar char="•"/>
          </a:pPr>
          <a:r>
            <a:rPr lang="en-US" sz="2500" kern="1200" baseline="0" dirty="0"/>
            <a:t>Have permission to purchase from Marketplace</a:t>
          </a:r>
          <a:endParaRPr lang="en-US" sz="2500" kern="1200" dirty="0"/>
        </a:p>
      </dsp:txBody>
      <dsp:txXfrm>
        <a:off x="3443" y="1044191"/>
        <a:ext cx="3357302" cy="3718617"/>
      </dsp:txXfrm>
    </dsp:sp>
    <dsp:sp modelId="{18897E8A-AF04-4AEF-BDC6-973ECC40234D}">
      <dsp:nvSpPr>
        <dsp:cNvPr id="0" name=""/>
        <dsp:cNvSpPr/>
      </dsp:nvSpPr>
      <dsp:spPr>
        <a:xfrm>
          <a:off x="3830767" y="71129"/>
          <a:ext cx="3357302" cy="973061"/>
        </a:xfrm>
        <a:prstGeom prst="rect">
          <a:avLst/>
        </a:prstGeom>
        <a:solidFill>
          <a:schemeClr val="accent2">
            <a:hueOff val="0"/>
            <a:satOff val="0"/>
            <a:lumOff val="0"/>
            <a:alphaOff val="0"/>
          </a:schemeClr>
        </a:solidFill>
        <a:ln w="9525" cap="flat" cmpd="sng" algn="ctr">
          <a:solidFill>
            <a:schemeClr val="accent2">
              <a:hueOff val="0"/>
              <a:satOff val="0"/>
              <a:lumOff val="0"/>
              <a:alphaOff val="0"/>
            </a:schemeClr>
          </a:solidFill>
          <a:prstDash val="solid"/>
        </a:ln>
        <a:effectLst/>
      </dsp:spPr>
      <dsp:style>
        <a:lnRef idx="1">
          <a:scrgbClr r="0" g="0" b="0"/>
        </a:lnRef>
        <a:fillRef idx="3">
          <a:scrgbClr r="0" g="0" b="0"/>
        </a:fillRef>
        <a:effectRef idx="2">
          <a:scrgbClr r="0" g="0" b="0"/>
        </a:effectRef>
        <a:fontRef idx="minor">
          <a:schemeClr val="lt1"/>
        </a:fontRef>
      </dsp:style>
      <dsp:txBody>
        <a:bodyPr spcFirstLastPara="0" vert="horz" wrap="square" lIns="177800" tIns="101600" rIns="177800" bIns="101600" numCol="1" spcCol="1270" anchor="ctr" anchorCtr="0">
          <a:noAutofit/>
        </a:bodyPr>
        <a:lstStyle/>
        <a:p>
          <a:pPr marL="0" lvl="0" indent="0" algn="ctr" defTabSz="1111250">
            <a:lnSpc>
              <a:spcPct val="90000"/>
            </a:lnSpc>
            <a:spcBef>
              <a:spcPct val="0"/>
            </a:spcBef>
            <a:spcAft>
              <a:spcPct val="35000"/>
            </a:spcAft>
            <a:buNone/>
          </a:pPr>
          <a:r>
            <a:rPr lang="en-US" sz="2500" kern="1200" baseline="0"/>
            <a:t>Discovery of SaaS offers through filters</a:t>
          </a:r>
          <a:endParaRPr lang="en-US" sz="2500" kern="1200"/>
        </a:p>
      </dsp:txBody>
      <dsp:txXfrm>
        <a:off x="3830767" y="71129"/>
        <a:ext cx="3357302" cy="973061"/>
      </dsp:txXfrm>
    </dsp:sp>
    <dsp:sp modelId="{DD7992A8-8ACA-4D2A-9436-5D53C8C5703C}">
      <dsp:nvSpPr>
        <dsp:cNvPr id="0" name=""/>
        <dsp:cNvSpPr/>
      </dsp:nvSpPr>
      <dsp:spPr>
        <a:xfrm>
          <a:off x="3830767" y="1044191"/>
          <a:ext cx="3357302" cy="3718617"/>
        </a:xfrm>
        <a:prstGeom prst="rect">
          <a:avLst/>
        </a:prstGeom>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33350" tIns="133350" rIns="177800" bIns="200025" numCol="1" spcCol="1270" anchor="t" anchorCtr="0">
          <a:noAutofit/>
        </a:bodyPr>
        <a:lstStyle/>
        <a:p>
          <a:pPr marL="228600" lvl="1" indent="-228600" algn="l" defTabSz="1111250">
            <a:lnSpc>
              <a:spcPct val="90000"/>
            </a:lnSpc>
            <a:spcBef>
              <a:spcPct val="0"/>
            </a:spcBef>
            <a:spcAft>
              <a:spcPct val="15000"/>
            </a:spcAft>
            <a:buChar char="•"/>
          </a:pPr>
          <a:r>
            <a:rPr lang="en-US" sz="2500" kern="1200" baseline="0"/>
            <a:t>Offer type</a:t>
          </a:r>
          <a:endParaRPr lang="en-US" sz="2500" kern="1200"/>
        </a:p>
        <a:p>
          <a:pPr marL="228600" lvl="1" indent="-228600" algn="l" defTabSz="1111250">
            <a:lnSpc>
              <a:spcPct val="90000"/>
            </a:lnSpc>
            <a:spcBef>
              <a:spcPct val="0"/>
            </a:spcBef>
            <a:spcAft>
              <a:spcPct val="15000"/>
            </a:spcAft>
            <a:buChar char="•"/>
          </a:pPr>
          <a:r>
            <a:rPr lang="en-US" sz="2500" kern="1200" baseline="0"/>
            <a:t>Private offers</a:t>
          </a:r>
          <a:endParaRPr lang="en-US" sz="2500" kern="1200"/>
        </a:p>
        <a:p>
          <a:pPr marL="228600" lvl="1" indent="-228600" algn="l" defTabSz="1111250">
            <a:lnSpc>
              <a:spcPct val="90000"/>
            </a:lnSpc>
            <a:spcBef>
              <a:spcPct val="0"/>
            </a:spcBef>
            <a:spcAft>
              <a:spcPct val="15000"/>
            </a:spcAft>
            <a:buChar char="•"/>
          </a:pPr>
          <a:r>
            <a:rPr lang="en-US" sz="2500" kern="1200" baseline="0"/>
            <a:t>Overview</a:t>
          </a:r>
          <a:endParaRPr lang="en-US" sz="2500" kern="1200"/>
        </a:p>
        <a:p>
          <a:pPr marL="228600" lvl="1" indent="-228600" algn="l" defTabSz="1111250">
            <a:lnSpc>
              <a:spcPct val="90000"/>
            </a:lnSpc>
            <a:spcBef>
              <a:spcPct val="0"/>
            </a:spcBef>
            <a:spcAft>
              <a:spcPct val="15000"/>
            </a:spcAft>
            <a:buChar char="•"/>
          </a:pPr>
          <a:r>
            <a:rPr lang="en-US" sz="2500" kern="1200" baseline="0"/>
            <a:t>Plans + Pricing</a:t>
          </a:r>
          <a:endParaRPr lang="en-US" sz="2500" kern="1200"/>
        </a:p>
        <a:p>
          <a:pPr marL="228600" lvl="1" indent="-228600" algn="l" defTabSz="1111250">
            <a:lnSpc>
              <a:spcPct val="90000"/>
            </a:lnSpc>
            <a:spcBef>
              <a:spcPct val="0"/>
            </a:spcBef>
            <a:spcAft>
              <a:spcPct val="15000"/>
            </a:spcAft>
            <a:buChar char="•"/>
          </a:pPr>
          <a:r>
            <a:rPr lang="en-US" sz="2500" kern="1200" baseline="0"/>
            <a:t>Usage information + Support</a:t>
          </a:r>
          <a:endParaRPr lang="en-US" sz="2500" kern="1200"/>
        </a:p>
        <a:p>
          <a:pPr marL="228600" lvl="1" indent="-228600" algn="l" defTabSz="1111250">
            <a:lnSpc>
              <a:spcPct val="90000"/>
            </a:lnSpc>
            <a:spcBef>
              <a:spcPct val="0"/>
            </a:spcBef>
            <a:spcAft>
              <a:spcPct val="15000"/>
            </a:spcAft>
            <a:buChar char="•"/>
          </a:pPr>
          <a:r>
            <a:rPr lang="en-US" sz="2500" kern="1200" baseline="0"/>
            <a:t>Ratings and Reviews</a:t>
          </a:r>
          <a:endParaRPr lang="en-US" sz="2500" kern="1200"/>
        </a:p>
      </dsp:txBody>
      <dsp:txXfrm>
        <a:off x="3830767" y="1044191"/>
        <a:ext cx="3357302" cy="3718617"/>
      </dsp:txXfrm>
    </dsp:sp>
    <dsp:sp modelId="{79FCC723-F7C2-4D5F-B48C-2828B608E9D8}">
      <dsp:nvSpPr>
        <dsp:cNvPr id="0" name=""/>
        <dsp:cNvSpPr/>
      </dsp:nvSpPr>
      <dsp:spPr>
        <a:xfrm>
          <a:off x="7658092" y="71129"/>
          <a:ext cx="3357302" cy="973061"/>
        </a:xfrm>
        <a:prstGeom prst="rect">
          <a:avLst/>
        </a:prstGeom>
        <a:solidFill>
          <a:schemeClr val="accent2">
            <a:hueOff val="0"/>
            <a:satOff val="0"/>
            <a:lumOff val="0"/>
            <a:alphaOff val="0"/>
          </a:schemeClr>
        </a:solidFill>
        <a:ln w="9525" cap="flat" cmpd="sng" algn="ctr">
          <a:solidFill>
            <a:schemeClr val="accent2">
              <a:hueOff val="0"/>
              <a:satOff val="0"/>
              <a:lumOff val="0"/>
              <a:alphaOff val="0"/>
            </a:schemeClr>
          </a:solidFill>
          <a:prstDash val="solid"/>
        </a:ln>
        <a:effectLst/>
      </dsp:spPr>
      <dsp:style>
        <a:lnRef idx="1">
          <a:scrgbClr r="0" g="0" b="0"/>
        </a:lnRef>
        <a:fillRef idx="3">
          <a:scrgbClr r="0" g="0" b="0"/>
        </a:fillRef>
        <a:effectRef idx="2">
          <a:scrgbClr r="0" g="0" b="0"/>
        </a:effectRef>
        <a:fontRef idx="minor">
          <a:schemeClr val="lt1"/>
        </a:fontRef>
      </dsp:style>
      <dsp:txBody>
        <a:bodyPr spcFirstLastPara="0" vert="horz" wrap="square" lIns="177800" tIns="101600" rIns="177800" bIns="101600" numCol="1" spcCol="1270" anchor="ctr" anchorCtr="0">
          <a:noAutofit/>
        </a:bodyPr>
        <a:lstStyle/>
        <a:p>
          <a:pPr marL="0" lvl="0" indent="0" algn="ctr" defTabSz="1111250">
            <a:lnSpc>
              <a:spcPct val="90000"/>
            </a:lnSpc>
            <a:spcBef>
              <a:spcPct val="0"/>
            </a:spcBef>
            <a:spcAft>
              <a:spcPct val="35000"/>
            </a:spcAft>
            <a:buNone/>
          </a:pPr>
          <a:r>
            <a:rPr lang="en-US" sz="2500" kern="1200" baseline="0"/>
            <a:t>Billing models</a:t>
          </a:r>
          <a:endParaRPr lang="en-US" sz="2500" kern="1200"/>
        </a:p>
      </dsp:txBody>
      <dsp:txXfrm>
        <a:off x="7658092" y="71129"/>
        <a:ext cx="3357302" cy="973061"/>
      </dsp:txXfrm>
    </dsp:sp>
    <dsp:sp modelId="{6B01AB2C-A753-46EB-B68C-DFED4C49EA33}">
      <dsp:nvSpPr>
        <dsp:cNvPr id="0" name=""/>
        <dsp:cNvSpPr/>
      </dsp:nvSpPr>
      <dsp:spPr>
        <a:xfrm>
          <a:off x="7658092" y="1044191"/>
          <a:ext cx="3357302" cy="3718617"/>
        </a:xfrm>
        <a:prstGeom prst="rect">
          <a:avLst/>
        </a:prstGeom>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33350" tIns="133350" rIns="177800" bIns="200025" numCol="1" spcCol="1270" anchor="t" anchorCtr="0">
          <a:noAutofit/>
        </a:bodyPr>
        <a:lstStyle/>
        <a:p>
          <a:pPr marL="228600" lvl="1" indent="-228600" algn="l" defTabSz="1111250">
            <a:lnSpc>
              <a:spcPct val="90000"/>
            </a:lnSpc>
            <a:spcBef>
              <a:spcPct val="0"/>
            </a:spcBef>
            <a:spcAft>
              <a:spcPct val="15000"/>
            </a:spcAft>
            <a:buChar char="•"/>
          </a:pPr>
          <a:r>
            <a:rPr lang="en-US" sz="2500" kern="1200" baseline="0"/>
            <a:t>Monthly</a:t>
          </a:r>
          <a:endParaRPr lang="en-US" sz="2500" kern="1200"/>
        </a:p>
        <a:p>
          <a:pPr marL="228600" lvl="1" indent="-228600" algn="l" defTabSz="1111250">
            <a:lnSpc>
              <a:spcPct val="90000"/>
            </a:lnSpc>
            <a:spcBef>
              <a:spcPct val="0"/>
            </a:spcBef>
            <a:spcAft>
              <a:spcPct val="15000"/>
            </a:spcAft>
            <a:buChar char="•"/>
          </a:pPr>
          <a:r>
            <a:rPr lang="en-US" sz="2500" kern="1200" baseline="0"/>
            <a:t>Annual (multi-year)</a:t>
          </a:r>
          <a:endParaRPr lang="en-US" sz="2500" kern="1200"/>
        </a:p>
      </dsp:txBody>
      <dsp:txXfrm>
        <a:off x="7658092" y="1044191"/>
        <a:ext cx="3357302" cy="3718617"/>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EFADD3C-A1B5-4D68-853B-212CDA71A881}">
      <dsp:nvSpPr>
        <dsp:cNvPr id="0" name=""/>
        <dsp:cNvSpPr/>
      </dsp:nvSpPr>
      <dsp:spPr>
        <a:xfrm rot="5400000">
          <a:off x="6869685" y="-2744761"/>
          <a:ext cx="1246249" cy="7052056"/>
        </a:xfrm>
        <a:prstGeom prst="round2SameRect">
          <a:avLst/>
        </a:prstGeom>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Char char="•"/>
          </a:pPr>
          <a:r>
            <a:rPr lang="en-US" sz="1500" kern="1200" baseline="0"/>
            <a:t>Install Azure PowerShell module</a:t>
          </a:r>
          <a:endParaRPr lang="en-US" sz="1500" kern="1200"/>
        </a:p>
        <a:p>
          <a:pPr marL="228600" lvl="2" indent="-114300" algn="l" defTabSz="666750">
            <a:lnSpc>
              <a:spcPct val="90000"/>
            </a:lnSpc>
            <a:spcBef>
              <a:spcPct val="0"/>
            </a:spcBef>
            <a:spcAft>
              <a:spcPct val="15000"/>
            </a:spcAft>
            <a:buChar char="•"/>
          </a:pPr>
          <a:r>
            <a:rPr lang="en-US" sz="1500" kern="1200" baseline="0"/>
            <a:t>https://learn.microsoft.com/en-us/powershell/azure/get-started-azureps</a:t>
          </a:r>
          <a:endParaRPr lang="en-US" sz="1500" kern="1200"/>
        </a:p>
        <a:p>
          <a:pPr marL="114300" lvl="1" indent="-114300" algn="l" defTabSz="666750">
            <a:lnSpc>
              <a:spcPct val="90000"/>
            </a:lnSpc>
            <a:spcBef>
              <a:spcPct val="0"/>
            </a:spcBef>
            <a:spcAft>
              <a:spcPct val="15000"/>
            </a:spcAft>
            <a:buChar char="•"/>
          </a:pPr>
          <a:r>
            <a:rPr lang="en-US" sz="1500" kern="1200" baseline="0"/>
            <a:t>Connect to Azure with Connect-AZAccount command</a:t>
          </a:r>
          <a:endParaRPr lang="en-US" sz="1500" kern="1200"/>
        </a:p>
      </dsp:txBody>
      <dsp:txXfrm rot="-5400000">
        <a:off x="3966782" y="218979"/>
        <a:ext cx="6991219" cy="1124575"/>
      </dsp:txXfrm>
    </dsp:sp>
    <dsp:sp modelId="{D3251CB0-99FB-4CE3-96C5-18A8B5F7B0C3}">
      <dsp:nvSpPr>
        <dsp:cNvPr id="0" name=""/>
        <dsp:cNvSpPr/>
      </dsp:nvSpPr>
      <dsp:spPr>
        <a:xfrm>
          <a:off x="0" y="2360"/>
          <a:ext cx="3966781" cy="1557812"/>
        </a:xfrm>
        <a:prstGeom prst="roundRect">
          <a:avLst/>
        </a:prstGeom>
        <a:solidFill>
          <a:schemeClr val="accent2">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29540" tIns="64770" rIns="129540" bIns="64770" numCol="1" spcCol="1270" anchor="ctr" anchorCtr="0">
          <a:noAutofit/>
        </a:bodyPr>
        <a:lstStyle/>
        <a:p>
          <a:pPr marL="0" lvl="0" indent="0" algn="ctr" defTabSz="1511300">
            <a:lnSpc>
              <a:spcPct val="90000"/>
            </a:lnSpc>
            <a:spcBef>
              <a:spcPct val="0"/>
            </a:spcBef>
            <a:spcAft>
              <a:spcPct val="35000"/>
            </a:spcAft>
            <a:buNone/>
          </a:pPr>
          <a:r>
            <a:rPr lang="en-US" sz="3400" kern="1200" baseline="0"/>
            <a:t>Prerequisites</a:t>
          </a:r>
          <a:endParaRPr lang="en-US" sz="3400" kern="1200"/>
        </a:p>
      </dsp:txBody>
      <dsp:txXfrm>
        <a:off x="76046" y="78406"/>
        <a:ext cx="3814689" cy="1405720"/>
      </dsp:txXfrm>
    </dsp:sp>
    <dsp:sp modelId="{553427E3-ABC7-4853-B128-320BFEBCD9AE}">
      <dsp:nvSpPr>
        <dsp:cNvPr id="0" name=""/>
        <dsp:cNvSpPr/>
      </dsp:nvSpPr>
      <dsp:spPr>
        <a:xfrm rot="5400000">
          <a:off x="6869685" y="-1109059"/>
          <a:ext cx="1246249" cy="7052056"/>
        </a:xfrm>
        <a:prstGeom prst="round2SameRect">
          <a:avLst/>
        </a:prstGeom>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Char char="•"/>
          </a:pPr>
          <a:r>
            <a:rPr lang="en-US" sz="1500" kern="1200" baseline="0"/>
            <a:t>Information needed for PowerShell</a:t>
          </a:r>
          <a:endParaRPr lang="en-US" sz="1500" kern="1200"/>
        </a:p>
        <a:p>
          <a:pPr marL="228600" lvl="2" indent="-114300" algn="l" defTabSz="666750">
            <a:lnSpc>
              <a:spcPct val="90000"/>
            </a:lnSpc>
            <a:spcBef>
              <a:spcPct val="0"/>
            </a:spcBef>
            <a:spcAft>
              <a:spcPct val="15000"/>
            </a:spcAft>
            <a:buChar char="•"/>
          </a:pPr>
          <a:r>
            <a:rPr lang="en-US" sz="1500" kern="1200" baseline="0"/>
            <a:t>Publisher ID</a:t>
          </a:r>
          <a:endParaRPr lang="en-US" sz="1500" kern="1200"/>
        </a:p>
        <a:p>
          <a:pPr marL="228600" lvl="2" indent="-114300" algn="l" defTabSz="666750">
            <a:lnSpc>
              <a:spcPct val="90000"/>
            </a:lnSpc>
            <a:spcBef>
              <a:spcPct val="0"/>
            </a:spcBef>
            <a:spcAft>
              <a:spcPct val="15000"/>
            </a:spcAft>
            <a:buChar char="•"/>
          </a:pPr>
          <a:r>
            <a:rPr lang="en-US" sz="1500" kern="1200" baseline="0"/>
            <a:t>Product ID</a:t>
          </a:r>
          <a:endParaRPr lang="en-US" sz="1500" kern="1200"/>
        </a:p>
        <a:p>
          <a:pPr marL="228600" lvl="2" indent="-114300" algn="l" defTabSz="666750">
            <a:lnSpc>
              <a:spcPct val="90000"/>
            </a:lnSpc>
            <a:spcBef>
              <a:spcPct val="0"/>
            </a:spcBef>
            <a:spcAft>
              <a:spcPct val="15000"/>
            </a:spcAft>
            <a:buChar char="•"/>
          </a:pPr>
          <a:r>
            <a:rPr lang="en-US" sz="1500" kern="1200" baseline="0"/>
            <a:t>Plan ID</a:t>
          </a:r>
          <a:endParaRPr lang="en-US" sz="1500" kern="1200"/>
        </a:p>
      </dsp:txBody>
      <dsp:txXfrm rot="-5400000">
        <a:off x="3966782" y="1854681"/>
        <a:ext cx="6991219" cy="1124575"/>
      </dsp:txXfrm>
    </dsp:sp>
    <dsp:sp modelId="{7735BBAA-B145-429A-A7C6-EF0BB3482726}">
      <dsp:nvSpPr>
        <dsp:cNvPr id="0" name=""/>
        <dsp:cNvSpPr/>
      </dsp:nvSpPr>
      <dsp:spPr>
        <a:xfrm>
          <a:off x="0" y="1638062"/>
          <a:ext cx="3966781" cy="1557812"/>
        </a:xfrm>
        <a:prstGeom prst="roundRect">
          <a:avLst/>
        </a:prstGeom>
        <a:solidFill>
          <a:schemeClr val="accent2">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29540" tIns="64770" rIns="129540" bIns="64770" numCol="1" spcCol="1270" anchor="ctr" anchorCtr="0">
          <a:noAutofit/>
        </a:bodyPr>
        <a:lstStyle/>
        <a:p>
          <a:pPr marL="0" lvl="0" indent="0" algn="ctr" defTabSz="1511300">
            <a:lnSpc>
              <a:spcPct val="90000"/>
            </a:lnSpc>
            <a:spcBef>
              <a:spcPct val="0"/>
            </a:spcBef>
            <a:spcAft>
              <a:spcPct val="35000"/>
            </a:spcAft>
            <a:buNone/>
          </a:pPr>
          <a:r>
            <a:rPr lang="en-US" sz="3400" kern="1200" baseline="0"/>
            <a:t>Usage Information + Support</a:t>
          </a:r>
          <a:endParaRPr lang="en-US" sz="3400" kern="1200"/>
        </a:p>
      </dsp:txBody>
      <dsp:txXfrm>
        <a:off x="76046" y="1714108"/>
        <a:ext cx="3814689" cy="1405720"/>
      </dsp:txXfrm>
    </dsp:sp>
    <dsp:sp modelId="{2B888B18-5AE3-4B08-90F4-FBA6BC237890}">
      <dsp:nvSpPr>
        <dsp:cNvPr id="0" name=""/>
        <dsp:cNvSpPr/>
      </dsp:nvSpPr>
      <dsp:spPr>
        <a:xfrm rot="5400000">
          <a:off x="6869685" y="526643"/>
          <a:ext cx="1246249" cy="7052056"/>
        </a:xfrm>
        <a:prstGeom prst="round2SameRect">
          <a:avLst/>
        </a:prstGeom>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Char char="•"/>
          </a:pPr>
          <a:r>
            <a:rPr lang="en-US" sz="1500" kern="1200" baseline="0"/>
            <a:t>Azure CLI</a:t>
          </a:r>
          <a:endParaRPr lang="en-US" sz="1500" kern="1200"/>
        </a:p>
        <a:p>
          <a:pPr marL="114300" lvl="1" indent="-114300" algn="l" defTabSz="666750">
            <a:lnSpc>
              <a:spcPct val="90000"/>
            </a:lnSpc>
            <a:spcBef>
              <a:spcPct val="0"/>
            </a:spcBef>
            <a:spcAft>
              <a:spcPct val="15000"/>
            </a:spcAft>
            <a:buChar char="•"/>
          </a:pPr>
          <a:r>
            <a:rPr lang="en-US" sz="1500" kern="1200" baseline="0"/>
            <a:t>Terraform</a:t>
          </a:r>
          <a:endParaRPr lang="en-US" sz="1500" kern="1200"/>
        </a:p>
      </dsp:txBody>
      <dsp:txXfrm rot="-5400000">
        <a:off x="3966782" y="3490384"/>
        <a:ext cx="6991219" cy="1124575"/>
      </dsp:txXfrm>
    </dsp:sp>
    <dsp:sp modelId="{5F964A1F-D92B-42DE-922B-D9697E21A213}">
      <dsp:nvSpPr>
        <dsp:cNvPr id="0" name=""/>
        <dsp:cNvSpPr/>
      </dsp:nvSpPr>
      <dsp:spPr>
        <a:xfrm>
          <a:off x="0" y="3273765"/>
          <a:ext cx="3966781" cy="1557812"/>
        </a:xfrm>
        <a:prstGeom prst="roundRect">
          <a:avLst/>
        </a:prstGeom>
        <a:solidFill>
          <a:schemeClr val="accent2">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29540" tIns="64770" rIns="129540" bIns="64770" numCol="1" spcCol="1270" anchor="ctr" anchorCtr="0">
          <a:noAutofit/>
        </a:bodyPr>
        <a:lstStyle/>
        <a:p>
          <a:pPr marL="0" lvl="0" indent="0" algn="ctr" defTabSz="1511300">
            <a:lnSpc>
              <a:spcPct val="90000"/>
            </a:lnSpc>
            <a:spcBef>
              <a:spcPct val="0"/>
            </a:spcBef>
            <a:spcAft>
              <a:spcPct val="35000"/>
            </a:spcAft>
            <a:buNone/>
          </a:pPr>
          <a:r>
            <a:rPr lang="en-US" sz="3400" kern="1200" baseline="0"/>
            <a:t>Other deployment options</a:t>
          </a:r>
          <a:endParaRPr lang="en-US" sz="3400" kern="1200"/>
        </a:p>
      </dsp:txBody>
      <dsp:txXfrm>
        <a:off x="76046" y="3349811"/>
        <a:ext cx="3814689" cy="1405720"/>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0E69083-1DC3-4E03-A7B4-985F56389913}">
      <dsp:nvSpPr>
        <dsp:cNvPr id="0" name=""/>
        <dsp:cNvSpPr/>
      </dsp:nvSpPr>
      <dsp:spPr>
        <a:xfrm>
          <a:off x="0" y="16668"/>
          <a:ext cx="7271239" cy="1212120"/>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a:t>Managing purchases depends on the method of purchase</a:t>
          </a:r>
        </a:p>
      </dsp:txBody>
      <dsp:txXfrm>
        <a:off x="59171" y="75839"/>
        <a:ext cx="7152897" cy="1093778"/>
      </dsp:txXfrm>
    </dsp:sp>
    <dsp:sp modelId="{E638B426-B4C3-486D-B24F-F0D708A27113}">
      <dsp:nvSpPr>
        <dsp:cNvPr id="0" name=""/>
        <dsp:cNvSpPr/>
      </dsp:nvSpPr>
      <dsp:spPr>
        <a:xfrm>
          <a:off x="0" y="1228788"/>
          <a:ext cx="7271239" cy="19126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30862" tIns="35560" rIns="199136" bIns="35560" numCol="1" spcCol="1270" anchor="t" anchorCtr="0">
          <a:noAutofit/>
        </a:bodyPr>
        <a:lstStyle/>
        <a:p>
          <a:pPr marL="228600" lvl="1" indent="-228600" algn="l" defTabSz="977900">
            <a:lnSpc>
              <a:spcPct val="90000"/>
            </a:lnSpc>
            <a:spcBef>
              <a:spcPct val="0"/>
            </a:spcBef>
            <a:spcAft>
              <a:spcPct val="20000"/>
            </a:spcAft>
            <a:buChar char="•"/>
          </a:pPr>
          <a:r>
            <a:rPr lang="en-US" sz="2200" kern="1200"/>
            <a:t>Purchase in Azure portal, manage in Azure portal</a:t>
          </a:r>
        </a:p>
        <a:p>
          <a:pPr marL="228600" lvl="1" indent="-228600" algn="l" defTabSz="977900">
            <a:lnSpc>
              <a:spcPct val="90000"/>
            </a:lnSpc>
            <a:spcBef>
              <a:spcPct val="0"/>
            </a:spcBef>
            <a:spcAft>
              <a:spcPct val="20000"/>
            </a:spcAft>
            <a:buChar char="•"/>
          </a:pPr>
          <a:r>
            <a:rPr lang="en-US" sz="2200" kern="1200"/>
            <a:t>Purchase in AppSource, manage in Microsoft 365 Admin Center</a:t>
          </a:r>
        </a:p>
        <a:p>
          <a:pPr marL="228600" lvl="1" indent="-228600" algn="l" defTabSz="977900">
            <a:lnSpc>
              <a:spcPct val="90000"/>
            </a:lnSpc>
            <a:spcBef>
              <a:spcPct val="0"/>
            </a:spcBef>
            <a:spcAft>
              <a:spcPct val="20000"/>
            </a:spcAft>
            <a:buChar char="•"/>
          </a:pPr>
          <a:r>
            <a:rPr lang="en-US" sz="2200" kern="1200" dirty="0"/>
            <a:t>Microsoft partner solutions may be in Microsoft portals on in their own admin portal</a:t>
          </a:r>
        </a:p>
      </dsp:txBody>
      <dsp:txXfrm>
        <a:off x="0" y="1228788"/>
        <a:ext cx="7271239" cy="1912680"/>
      </dsp:txXfrm>
    </dsp:sp>
    <dsp:sp modelId="{C785C48D-C559-486A-9C47-1603B8BACE70}">
      <dsp:nvSpPr>
        <dsp:cNvPr id="0" name=""/>
        <dsp:cNvSpPr/>
      </dsp:nvSpPr>
      <dsp:spPr>
        <a:xfrm>
          <a:off x="0" y="3141469"/>
          <a:ext cx="7271239" cy="1212120"/>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a:t>Changing plans</a:t>
          </a:r>
        </a:p>
      </dsp:txBody>
      <dsp:txXfrm>
        <a:off x="59171" y="3200640"/>
        <a:ext cx="7152897" cy="1093778"/>
      </dsp:txXfrm>
    </dsp:sp>
    <dsp:sp modelId="{18423F23-6E3D-4752-AD23-F8A327AAF702}">
      <dsp:nvSpPr>
        <dsp:cNvPr id="0" name=""/>
        <dsp:cNvSpPr/>
      </dsp:nvSpPr>
      <dsp:spPr>
        <a:xfrm>
          <a:off x="0" y="4353589"/>
          <a:ext cx="7271239" cy="4636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30862" tIns="35560" rIns="199136" bIns="35560" numCol="1" spcCol="1270" anchor="t" anchorCtr="0">
          <a:noAutofit/>
        </a:bodyPr>
        <a:lstStyle/>
        <a:p>
          <a:pPr marL="228600" lvl="1" indent="-228600" algn="l" defTabSz="977900">
            <a:lnSpc>
              <a:spcPct val="90000"/>
            </a:lnSpc>
            <a:spcBef>
              <a:spcPct val="0"/>
            </a:spcBef>
            <a:spcAft>
              <a:spcPct val="20000"/>
            </a:spcAft>
            <a:buChar char="•"/>
          </a:pPr>
          <a:r>
            <a:rPr lang="en-US" sz="2200" kern="1200"/>
            <a:t>Requires Owner or Contributor role permissions</a:t>
          </a:r>
        </a:p>
      </dsp:txBody>
      <dsp:txXfrm>
        <a:off x="0" y="4353589"/>
        <a:ext cx="7271239" cy="463680"/>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3A4A9AB-47D7-4AAC-82AD-B40F8998EDDA}">
      <dsp:nvSpPr>
        <dsp:cNvPr id="0" name=""/>
        <dsp:cNvSpPr/>
      </dsp:nvSpPr>
      <dsp:spPr>
        <a:xfrm>
          <a:off x="0" y="352233"/>
          <a:ext cx="11018837" cy="1044225"/>
        </a:xfrm>
        <a:prstGeom prst="rect">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5184" tIns="354076" rIns="855184" bIns="120904" numCol="1" spcCol="1270" anchor="t" anchorCtr="0">
          <a:noAutofit/>
        </a:bodyPr>
        <a:lstStyle/>
        <a:p>
          <a:pPr marL="171450" lvl="1" indent="-171450" algn="l" defTabSz="755650">
            <a:lnSpc>
              <a:spcPct val="90000"/>
            </a:lnSpc>
            <a:spcBef>
              <a:spcPct val="0"/>
            </a:spcBef>
            <a:spcAft>
              <a:spcPct val="15000"/>
            </a:spcAft>
            <a:buChar char="•"/>
          </a:pPr>
          <a:r>
            <a:rPr lang="en-US" sz="1700" kern="1200" baseline="0"/>
            <a:t>Accept</a:t>
          </a:r>
          <a:endParaRPr lang="en-US" sz="1700" kern="1200"/>
        </a:p>
        <a:p>
          <a:pPr marL="171450" lvl="1" indent="-171450" algn="l" defTabSz="755650">
            <a:lnSpc>
              <a:spcPct val="90000"/>
            </a:lnSpc>
            <a:spcBef>
              <a:spcPct val="0"/>
            </a:spcBef>
            <a:spcAft>
              <a:spcPct val="15000"/>
            </a:spcAft>
            <a:buChar char="•"/>
          </a:pPr>
          <a:r>
            <a:rPr lang="en-US" sz="1700" kern="1200" baseline="0"/>
            <a:t>Purchase</a:t>
          </a:r>
          <a:endParaRPr lang="en-US" sz="1700" kern="1200"/>
        </a:p>
      </dsp:txBody>
      <dsp:txXfrm>
        <a:off x="0" y="352233"/>
        <a:ext cx="11018837" cy="1044225"/>
      </dsp:txXfrm>
    </dsp:sp>
    <dsp:sp modelId="{35B8B9FC-FC2F-48D1-8D16-AD533F24C4B6}">
      <dsp:nvSpPr>
        <dsp:cNvPr id="0" name=""/>
        <dsp:cNvSpPr/>
      </dsp:nvSpPr>
      <dsp:spPr>
        <a:xfrm>
          <a:off x="550941" y="101313"/>
          <a:ext cx="7713186" cy="501840"/>
        </a:xfrm>
        <a:prstGeom prst="roundRect">
          <a:avLst/>
        </a:prstGeom>
        <a:solidFill>
          <a:schemeClr val="accent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1540" tIns="0" rIns="291540" bIns="0" numCol="1" spcCol="1270" anchor="ctr" anchorCtr="0">
          <a:noAutofit/>
        </a:bodyPr>
        <a:lstStyle/>
        <a:p>
          <a:pPr marL="0" lvl="0" indent="0" algn="l" defTabSz="755650">
            <a:lnSpc>
              <a:spcPct val="90000"/>
            </a:lnSpc>
            <a:spcBef>
              <a:spcPct val="0"/>
            </a:spcBef>
            <a:spcAft>
              <a:spcPct val="35000"/>
            </a:spcAft>
            <a:buNone/>
          </a:pPr>
          <a:r>
            <a:rPr lang="en-US" sz="1700" kern="1200" baseline="0"/>
            <a:t>Two steps for purchase private offers:</a:t>
          </a:r>
          <a:endParaRPr lang="en-US" sz="1700" kern="1200"/>
        </a:p>
      </dsp:txBody>
      <dsp:txXfrm>
        <a:off x="575439" y="125811"/>
        <a:ext cx="7664190" cy="452844"/>
      </dsp:txXfrm>
    </dsp:sp>
    <dsp:sp modelId="{4463158C-EC9F-489E-9836-2A7B1CB462AF}">
      <dsp:nvSpPr>
        <dsp:cNvPr id="0" name=""/>
        <dsp:cNvSpPr/>
      </dsp:nvSpPr>
      <dsp:spPr>
        <a:xfrm>
          <a:off x="0" y="1739179"/>
          <a:ext cx="11018837" cy="1044225"/>
        </a:xfrm>
        <a:prstGeom prst="rect">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5184" tIns="354076" rIns="855184" bIns="120904" numCol="1" spcCol="1270" anchor="t" anchorCtr="0">
          <a:noAutofit/>
        </a:bodyPr>
        <a:lstStyle/>
        <a:p>
          <a:pPr marL="171450" lvl="1" indent="-171450" algn="l" defTabSz="755650">
            <a:lnSpc>
              <a:spcPct val="90000"/>
            </a:lnSpc>
            <a:spcBef>
              <a:spcPct val="0"/>
            </a:spcBef>
            <a:spcAft>
              <a:spcPct val="15000"/>
            </a:spcAft>
            <a:buChar char="•"/>
          </a:pPr>
          <a:r>
            <a:rPr lang="en-US" sz="1700" kern="1200" baseline="0"/>
            <a:t>Completed in publisher's portal</a:t>
          </a:r>
          <a:endParaRPr lang="en-US" sz="1700" kern="1200"/>
        </a:p>
        <a:p>
          <a:pPr marL="171450" lvl="1" indent="-171450" algn="l" defTabSz="755650">
            <a:lnSpc>
              <a:spcPct val="90000"/>
            </a:lnSpc>
            <a:spcBef>
              <a:spcPct val="0"/>
            </a:spcBef>
            <a:spcAft>
              <a:spcPct val="15000"/>
            </a:spcAft>
            <a:buChar char="•"/>
          </a:pPr>
          <a:r>
            <a:rPr lang="en-US" sz="1700" kern="1200" baseline="0"/>
            <a:t>Requires Entra ID (Azure Active Directory) permissions</a:t>
          </a:r>
          <a:endParaRPr lang="en-US" sz="1700" kern="1200"/>
        </a:p>
      </dsp:txBody>
      <dsp:txXfrm>
        <a:off x="0" y="1739179"/>
        <a:ext cx="11018837" cy="1044225"/>
      </dsp:txXfrm>
    </dsp:sp>
    <dsp:sp modelId="{CDE54510-D1F2-44F3-BA3A-F9CEC9431F7F}">
      <dsp:nvSpPr>
        <dsp:cNvPr id="0" name=""/>
        <dsp:cNvSpPr/>
      </dsp:nvSpPr>
      <dsp:spPr>
        <a:xfrm>
          <a:off x="550941" y="1488258"/>
          <a:ext cx="7713186" cy="501840"/>
        </a:xfrm>
        <a:prstGeom prst="roundRect">
          <a:avLst/>
        </a:prstGeom>
        <a:solidFill>
          <a:schemeClr val="accent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1540" tIns="0" rIns="291540" bIns="0" numCol="1" spcCol="1270" anchor="ctr" anchorCtr="0">
          <a:noAutofit/>
        </a:bodyPr>
        <a:lstStyle/>
        <a:p>
          <a:pPr marL="0" lvl="0" indent="0" algn="l" defTabSz="755650">
            <a:lnSpc>
              <a:spcPct val="90000"/>
            </a:lnSpc>
            <a:spcBef>
              <a:spcPct val="0"/>
            </a:spcBef>
            <a:spcAft>
              <a:spcPct val="35000"/>
            </a:spcAft>
            <a:buNone/>
          </a:pPr>
          <a:r>
            <a:rPr lang="en-US" sz="1700" kern="1200" baseline="0"/>
            <a:t>SaaS subscriptions</a:t>
          </a:r>
          <a:endParaRPr lang="en-US" sz="1700" kern="1200"/>
        </a:p>
      </dsp:txBody>
      <dsp:txXfrm>
        <a:off x="575439" y="1512756"/>
        <a:ext cx="7664190" cy="452844"/>
      </dsp:txXfrm>
    </dsp:sp>
    <dsp:sp modelId="{416B9D5B-018B-4AD8-95F9-F3A46DF79AF1}">
      <dsp:nvSpPr>
        <dsp:cNvPr id="0" name=""/>
        <dsp:cNvSpPr/>
      </dsp:nvSpPr>
      <dsp:spPr>
        <a:xfrm>
          <a:off x="0" y="3126123"/>
          <a:ext cx="11018837" cy="1606500"/>
        </a:xfrm>
        <a:prstGeom prst="rect">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5184" tIns="354076" rIns="855184" bIns="120904" numCol="1" spcCol="1270" anchor="t" anchorCtr="0">
          <a:noAutofit/>
        </a:bodyPr>
        <a:lstStyle/>
        <a:p>
          <a:pPr marL="171450" lvl="1" indent="-171450" algn="l" defTabSz="755650">
            <a:lnSpc>
              <a:spcPct val="90000"/>
            </a:lnSpc>
            <a:spcBef>
              <a:spcPct val="0"/>
            </a:spcBef>
            <a:spcAft>
              <a:spcPct val="15000"/>
            </a:spcAft>
            <a:buChar char="•"/>
          </a:pPr>
          <a:r>
            <a:rPr lang="en-US" sz="1700" kern="1200" baseline="0"/>
            <a:t>Marketplace private offers precheck tool (</a:t>
          </a:r>
          <a:r>
            <a:rPr lang="en-US" sz="1700" kern="1200" baseline="0">
              <a:hlinkClick xmlns:r="http://schemas.openxmlformats.org/officeDocument/2006/relationships" r:id="rId1"/>
            </a:rPr>
            <a:t>https://learn.microsoft.com/en-us/marketplace/private-offers-pre-check</a:t>
          </a:r>
          <a:r>
            <a:rPr lang="en-US" sz="1700" kern="1200" baseline="0"/>
            <a:t>)</a:t>
          </a:r>
          <a:endParaRPr lang="en-US" sz="1700" kern="1200"/>
        </a:p>
        <a:p>
          <a:pPr marL="171450" lvl="1" indent="-171450" algn="l" defTabSz="755650">
            <a:lnSpc>
              <a:spcPct val="90000"/>
            </a:lnSpc>
            <a:spcBef>
              <a:spcPct val="0"/>
            </a:spcBef>
            <a:spcAft>
              <a:spcPct val="15000"/>
            </a:spcAft>
            <a:buChar char="•"/>
          </a:pPr>
          <a:r>
            <a:rPr lang="en-US" sz="1700" kern="1200" baseline="0"/>
            <a:t>Private marketplace – product will be in the allow list</a:t>
          </a:r>
          <a:endParaRPr lang="en-US" sz="1700" kern="1200"/>
        </a:p>
        <a:p>
          <a:pPr marL="171450" lvl="1" indent="-171450" algn="l" defTabSz="755650">
            <a:lnSpc>
              <a:spcPct val="90000"/>
            </a:lnSpc>
            <a:spcBef>
              <a:spcPct val="0"/>
            </a:spcBef>
            <a:spcAft>
              <a:spcPct val="15000"/>
            </a:spcAft>
            <a:buChar char="•"/>
          </a:pPr>
          <a:r>
            <a:rPr lang="en-US" sz="1700" kern="1200" baseline="0"/>
            <a:t>Azure policies – used to block or enforce tagging when resources are created</a:t>
          </a:r>
          <a:endParaRPr lang="en-US" sz="1700" kern="1200"/>
        </a:p>
      </dsp:txBody>
      <dsp:txXfrm>
        <a:off x="0" y="3126123"/>
        <a:ext cx="11018837" cy="1606500"/>
      </dsp:txXfrm>
    </dsp:sp>
    <dsp:sp modelId="{F23A4A5F-3279-4844-9F37-797736070D7C}">
      <dsp:nvSpPr>
        <dsp:cNvPr id="0" name=""/>
        <dsp:cNvSpPr/>
      </dsp:nvSpPr>
      <dsp:spPr>
        <a:xfrm>
          <a:off x="550941" y="2875203"/>
          <a:ext cx="7713186" cy="501840"/>
        </a:xfrm>
        <a:prstGeom prst="roundRect">
          <a:avLst/>
        </a:prstGeom>
        <a:solidFill>
          <a:schemeClr val="accent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1540" tIns="0" rIns="291540" bIns="0" numCol="1" spcCol="1270" anchor="ctr" anchorCtr="0">
          <a:noAutofit/>
        </a:bodyPr>
        <a:lstStyle/>
        <a:p>
          <a:pPr marL="0" lvl="0" indent="0" algn="l" defTabSz="755650">
            <a:lnSpc>
              <a:spcPct val="90000"/>
            </a:lnSpc>
            <a:spcBef>
              <a:spcPct val="0"/>
            </a:spcBef>
            <a:spcAft>
              <a:spcPct val="35000"/>
            </a:spcAft>
            <a:buNone/>
          </a:pPr>
          <a:r>
            <a:rPr lang="en-US" sz="1700" kern="1200" baseline="0"/>
            <a:t>Finding permissions</a:t>
          </a:r>
          <a:endParaRPr lang="en-US" sz="1700" kern="1200"/>
        </a:p>
      </dsp:txBody>
      <dsp:txXfrm>
        <a:off x="575439" y="2899701"/>
        <a:ext cx="7664190" cy="452844"/>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BC6D9BC-D594-49A2-97F6-C14799756212}">
      <dsp:nvSpPr>
        <dsp:cNvPr id="0" name=""/>
        <dsp:cNvSpPr/>
      </dsp:nvSpPr>
      <dsp:spPr>
        <a:xfrm>
          <a:off x="0" y="2006"/>
          <a:ext cx="11018837" cy="1016826"/>
        </a:xfrm>
        <a:prstGeom prst="roundRect">
          <a:avLst>
            <a:gd name="adj" fmla="val 10000"/>
          </a:avLst>
        </a:prstGeom>
        <a:solidFill>
          <a:schemeClr val="accent2">
            <a:lumMod val="60000"/>
            <a:lumOff val="40000"/>
          </a:schemeClr>
        </a:solidFill>
        <a:ln>
          <a:noFill/>
        </a:ln>
        <a:effectLst/>
      </dsp:spPr>
      <dsp:style>
        <a:lnRef idx="0">
          <a:scrgbClr r="0" g="0" b="0"/>
        </a:lnRef>
        <a:fillRef idx="1">
          <a:scrgbClr r="0" g="0" b="0"/>
        </a:fillRef>
        <a:effectRef idx="0">
          <a:scrgbClr r="0" g="0" b="0"/>
        </a:effectRef>
        <a:fontRef idx="minor"/>
      </dsp:style>
    </dsp:sp>
    <dsp:sp modelId="{1C921374-3434-44A4-90B0-7394D130E2D5}">
      <dsp:nvSpPr>
        <dsp:cNvPr id="0" name=""/>
        <dsp:cNvSpPr/>
      </dsp:nvSpPr>
      <dsp:spPr>
        <a:xfrm>
          <a:off x="307589" y="230792"/>
          <a:ext cx="559254" cy="559254"/>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1ECBF556-0D7C-496E-88C2-E002786B84B4}">
      <dsp:nvSpPr>
        <dsp:cNvPr id="0" name=""/>
        <dsp:cNvSpPr/>
      </dsp:nvSpPr>
      <dsp:spPr>
        <a:xfrm>
          <a:off x="1174434" y="2006"/>
          <a:ext cx="9844403" cy="101682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614" tIns="107614" rIns="107614" bIns="107614" numCol="1" spcCol="1270" anchor="ctr" anchorCtr="0">
          <a:noAutofit/>
        </a:bodyPr>
        <a:lstStyle/>
        <a:p>
          <a:pPr marL="0" lvl="0" indent="0" algn="l" defTabSz="755650">
            <a:lnSpc>
              <a:spcPct val="90000"/>
            </a:lnSpc>
            <a:spcBef>
              <a:spcPct val="0"/>
            </a:spcBef>
            <a:spcAft>
              <a:spcPct val="35000"/>
            </a:spcAft>
            <a:buNone/>
          </a:pPr>
          <a:r>
            <a:rPr lang="en-US" sz="1700" kern="1200"/>
            <a:t>In Azure portal, go to: Subscriptions &gt; select the subscription &gt; resource providers &gt; filter by the word “marketplace” &gt; make sure all three results are enabled for Azure Marketplace.</a:t>
          </a:r>
        </a:p>
      </dsp:txBody>
      <dsp:txXfrm>
        <a:off x="1174434" y="2006"/>
        <a:ext cx="9844403" cy="1016826"/>
      </dsp:txXfrm>
    </dsp:sp>
    <dsp:sp modelId="{63CA4B60-F8C6-41C8-8716-CA007D869189}">
      <dsp:nvSpPr>
        <dsp:cNvPr id="0" name=""/>
        <dsp:cNvSpPr/>
      </dsp:nvSpPr>
      <dsp:spPr>
        <a:xfrm>
          <a:off x="0" y="1273039"/>
          <a:ext cx="11018837" cy="1016826"/>
        </a:xfrm>
        <a:prstGeom prst="roundRect">
          <a:avLst>
            <a:gd name="adj" fmla="val 10000"/>
          </a:avLst>
        </a:prstGeom>
        <a:solidFill>
          <a:schemeClr val="accent2">
            <a:lumMod val="60000"/>
            <a:lumOff val="40000"/>
          </a:schemeClr>
        </a:solidFill>
        <a:ln>
          <a:noFill/>
        </a:ln>
        <a:effectLst/>
      </dsp:spPr>
      <dsp:style>
        <a:lnRef idx="0">
          <a:scrgbClr r="0" g="0" b="0"/>
        </a:lnRef>
        <a:fillRef idx="1">
          <a:scrgbClr r="0" g="0" b="0"/>
        </a:fillRef>
        <a:effectRef idx="0">
          <a:scrgbClr r="0" g="0" b="0"/>
        </a:effectRef>
        <a:fontRef idx="minor"/>
      </dsp:style>
    </dsp:sp>
    <dsp:sp modelId="{C95DB5FA-1F17-46B1-86BC-9E3E95817252}">
      <dsp:nvSpPr>
        <dsp:cNvPr id="0" name=""/>
        <dsp:cNvSpPr/>
      </dsp:nvSpPr>
      <dsp:spPr>
        <a:xfrm>
          <a:off x="307589" y="1501825"/>
          <a:ext cx="559254" cy="559254"/>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2F057E3F-FBBF-4E63-8B0E-9CB7DB4A0626}">
      <dsp:nvSpPr>
        <dsp:cNvPr id="0" name=""/>
        <dsp:cNvSpPr/>
      </dsp:nvSpPr>
      <dsp:spPr>
        <a:xfrm>
          <a:off x="1174434" y="1273039"/>
          <a:ext cx="9844403" cy="101682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614" tIns="107614" rIns="107614" bIns="107614" numCol="1" spcCol="1270" anchor="ctr" anchorCtr="0">
          <a:noAutofit/>
        </a:bodyPr>
        <a:lstStyle/>
        <a:p>
          <a:pPr marL="0" lvl="0" indent="0" algn="l" defTabSz="755650">
            <a:lnSpc>
              <a:spcPct val="90000"/>
            </a:lnSpc>
            <a:spcBef>
              <a:spcPct val="0"/>
            </a:spcBef>
            <a:spcAft>
              <a:spcPct val="35000"/>
            </a:spcAft>
            <a:buNone/>
          </a:pPr>
          <a:r>
            <a:rPr lang="en-US" sz="1700" kern="1200"/>
            <a:t>To find your billing account permissions, go to the Azure portal and select Cost Management &amp; Billing &gt; Billing Scopes &gt; (select the billing account you want) &gt; Access Management (IAM).</a:t>
          </a:r>
        </a:p>
      </dsp:txBody>
      <dsp:txXfrm>
        <a:off x="1174434" y="1273039"/>
        <a:ext cx="9844403" cy="1016826"/>
      </dsp:txXfrm>
    </dsp:sp>
    <dsp:sp modelId="{686572CC-AF7A-44B7-B838-130EA4B7245B}">
      <dsp:nvSpPr>
        <dsp:cNvPr id="0" name=""/>
        <dsp:cNvSpPr/>
      </dsp:nvSpPr>
      <dsp:spPr>
        <a:xfrm>
          <a:off x="0" y="2544072"/>
          <a:ext cx="11018837" cy="1016826"/>
        </a:xfrm>
        <a:prstGeom prst="roundRect">
          <a:avLst>
            <a:gd name="adj" fmla="val 10000"/>
          </a:avLst>
        </a:prstGeom>
        <a:solidFill>
          <a:schemeClr val="accent2">
            <a:lumMod val="60000"/>
            <a:lumOff val="40000"/>
          </a:schemeClr>
        </a:solidFill>
        <a:ln>
          <a:noFill/>
        </a:ln>
        <a:effectLst/>
      </dsp:spPr>
      <dsp:style>
        <a:lnRef idx="0">
          <a:scrgbClr r="0" g="0" b="0"/>
        </a:lnRef>
        <a:fillRef idx="1">
          <a:scrgbClr r="0" g="0" b="0"/>
        </a:fillRef>
        <a:effectRef idx="0">
          <a:scrgbClr r="0" g="0" b="0"/>
        </a:effectRef>
        <a:fontRef idx="minor"/>
      </dsp:style>
    </dsp:sp>
    <dsp:sp modelId="{0CD868EC-EE32-475D-8542-567FC0023D53}">
      <dsp:nvSpPr>
        <dsp:cNvPr id="0" name=""/>
        <dsp:cNvSpPr/>
      </dsp:nvSpPr>
      <dsp:spPr>
        <a:xfrm>
          <a:off x="307589" y="2772858"/>
          <a:ext cx="559254" cy="559254"/>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FC3DE67C-4ECC-4EFC-9242-181B62B20B64}">
      <dsp:nvSpPr>
        <dsp:cNvPr id="0" name=""/>
        <dsp:cNvSpPr/>
      </dsp:nvSpPr>
      <dsp:spPr>
        <a:xfrm>
          <a:off x="1174434" y="2544072"/>
          <a:ext cx="9844403" cy="101682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614" tIns="107614" rIns="107614" bIns="107614" numCol="1" spcCol="1270" anchor="ctr" anchorCtr="0">
          <a:noAutofit/>
        </a:bodyPr>
        <a:lstStyle/>
        <a:p>
          <a:pPr marL="0" lvl="0" indent="0" algn="l" defTabSz="755650">
            <a:lnSpc>
              <a:spcPct val="90000"/>
            </a:lnSpc>
            <a:spcBef>
              <a:spcPct val="0"/>
            </a:spcBef>
            <a:spcAft>
              <a:spcPct val="35000"/>
            </a:spcAft>
            <a:buNone/>
          </a:pPr>
          <a:r>
            <a:rPr lang="en-US" sz="1700" kern="1200"/>
            <a:t>If you don't see the billing account you're looking for, it means you don't have permission to it (including read-only permissions). To learn more, see Billing accounts and scopes in the Azure portal.</a:t>
          </a:r>
        </a:p>
      </dsp:txBody>
      <dsp:txXfrm>
        <a:off x="1174434" y="2544072"/>
        <a:ext cx="9844403" cy="1016826"/>
      </dsp:txXfrm>
    </dsp:sp>
    <dsp:sp modelId="{9AD606DB-863A-4EB8-8DA7-881F8AF4E8B3}">
      <dsp:nvSpPr>
        <dsp:cNvPr id="0" name=""/>
        <dsp:cNvSpPr/>
      </dsp:nvSpPr>
      <dsp:spPr>
        <a:xfrm>
          <a:off x="0" y="3815105"/>
          <a:ext cx="11018837" cy="1016826"/>
        </a:xfrm>
        <a:prstGeom prst="roundRect">
          <a:avLst>
            <a:gd name="adj" fmla="val 10000"/>
          </a:avLst>
        </a:prstGeom>
        <a:solidFill>
          <a:schemeClr val="accent2">
            <a:lumMod val="60000"/>
            <a:lumOff val="40000"/>
          </a:schemeClr>
        </a:solidFill>
        <a:ln>
          <a:noFill/>
        </a:ln>
        <a:effectLst/>
      </dsp:spPr>
      <dsp:style>
        <a:lnRef idx="0">
          <a:scrgbClr r="0" g="0" b="0"/>
        </a:lnRef>
        <a:fillRef idx="1">
          <a:scrgbClr r="0" g="0" b="0"/>
        </a:fillRef>
        <a:effectRef idx="0">
          <a:scrgbClr r="0" g="0" b="0"/>
        </a:effectRef>
        <a:fontRef idx="minor"/>
      </dsp:style>
    </dsp:sp>
    <dsp:sp modelId="{2E50BE81-51C7-4DD6-A7C2-5B00583819D8}">
      <dsp:nvSpPr>
        <dsp:cNvPr id="0" name=""/>
        <dsp:cNvSpPr/>
      </dsp:nvSpPr>
      <dsp:spPr>
        <a:xfrm>
          <a:off x="307589" y="4043891"/>
          <a:ext cx="559254" cy="559254"/>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3FB9BD47-0F23-421E-B830-2B25D95CEE3C}">
      <dsp:nvSpPr>
        <dsp:cNvPr id="0" name=""/>
        <dsp:cNvSpPr/>
      </dsp:nvSpPr>
      <dsp:spPr>
        <a:xfrm>
          <a:off x="1174434" y="3815105"/>
          <a:ext cx="9844403" cy="101682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614" tIns="107614" rIns="107614" bIns="107614" numCol="1" spcCol="1270" anchor="ctr" anchorCtr="0">
          <a:noAutofit/>
        </a:bodyPr>
        <a:lstStyle/>
        <a:p>
          <a:pPr marL="0" lvl="0" indent="0" algn="l" defTabSz="755650">
            <a:lnSpc>
              <a:spcPct val="90000"/>
            </a:lnSpc>
            <a:spcBef>
              <a:spcPct val="0"/>
            </a:spcBef>
            <a:spcAft>
              <a:spcPct val="35000"/>
            </a:spcAft>
            <a:buNone/>
          </a:pPr>
          <a:r>
            <a:rPr lang="en-US" sz="1700" kern="1200" dirty="0"/>
            <a:t>To find if you can register third-party applications via SSO, check on </a:t>
          </a:r>
          <a:r>
            <a:rPr lang="en-US" sz="1700" kern="1200" dirty="0" err="1"/>
            <a:t>Entra</a:t>
          </a:r>
          <a:r>
            <a:rPr lang="en-US" sz="1700" kern="1200" dirty="0"/>
            <a:t> ID (Azure AD) menu that users can register applications (Activating your SaaS service requires SSO permissions to third party apps)</a:t>
          </a:r>
        </a:p>
      </dsp:txBody>
      <dsp:txXfrm>
        <a:off x="1174434" y="3815105"/>
        <a:ext cx="9844403" cy="1016826"/>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02106EA-0AC8-4B5D-983D-94EF5E112A7B}">
      <dsp:nvSpPr>
        <dsp:cNvPr id="0" name=""/>
        <dsp:cNvSpPr/>
      </dsp:nvSpPr>
      <dsp:spPr>
        <a:xfrm>
          <a:off x="596672" y="1106498"/>
          <a:ext cx="1449468" cy="1449468"/>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5434BC8-4479-430A-913B-4E937F5EC312}">
      <dsp:nvSpPr>
        <dsp:cNvPr id="0" name=""/>
        <dsp:cNvSpPr/>
      </dsp:nvSpPr>
      <dsp:spPr>
        <a:xfrm>
          <a:off x="905575" y="1415401"/>
          <a:ext cx="831662" cy="831662"/>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B43480CE-2919-417F-BF34-997133081734}">
      <dsp:nvSpPr>
        <dsp:cNvPr id="0" name=""/>
        <dsp:cNvSpPr/>
      </dsp:nvSpPr>
      <dsp:spPr>
        <a:xfrm>
          <a:off x="133317" y="3007439"/>
          <a:ext cx="2376177"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22300">
            <a:lnSpc>
              <a:spcPct val="90000"/>
            </a:lnSpc>
            <a:spcBef>
              <a:spcPct val="0"/>
            </a:spcBef>
            <a:spcAft>
              <a:spcPct val="35000"/>
            </a:spcAft>
            <a:buNone/>
            <a:defRPr cap="all"/>
          </a:pPr>
          <a:r>
            <a:rPr lang="en-US" sz="1400" kern="1200" baseline="0" dirty="0"/>
            <a:t>Access to the Marketplace requires Proper Azure Credentials</a:t>
          </a:r>
          <a:endParaRPr lang="en-US" sz="1400" kern="1200" dirty="0"/>
        </a:p>
      </dsp:txBody>
      <dsp:txXfrm>
        <a:off x="133317" y="3007439"/>
        <a:ext cx="2376177" cy="720000"/>
      </dsp:txXfrm>
    </dsp:sp>
    <dsp:sp modelId="{0EB1D68C-8980-4D51-BDDB-EFCB6DF1E2DB}">
      <dsp:nvSpPr>
        <dsp:cNvPr id="0" name=""/>
        <dsp:cNvSpPr/>
      </dsp:nvSpPr>
      <dsp:spPr>
        <a:xfrm>
          <a:off x="3388680" y="1106498"/>
          <a:ext cx="1449468" cy="1449468"/>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F46459C-42B4-4207-A1E6-E13FF0339821}">
      <dsp:nvSpPr>
        <dsp:cNvPr id="0" name=""/>
        <dsp:cNvSpPr/>
      </dsp:nvSpPr>
      <dsp:spPr>
        <a:xfrm>
          <a:off x="3697583" y="1415401"/>
          <a:ext cx="831662" cy="831662"/>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45F141F5-6920-4C44-AA69-BCB98DA9A01C}">
      <dsp:nvSpPr>
        <dsp:cNvPr id="0" name=""/>
        <dsp:cNvSpPr/>
      </dsp:nvSpPr>
      <dsp:spPr>
        <a:xfrm>
          <a:off x="2925326" y="3007439"/>
          <a:ext cx="2376177"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22300">
            <a:lnSpc>
              <a:spcPct val="90000"/>
            </a:lnSpc>
            <a:spcBef>
              <a:spcPct val="0"/>
            </a:spcBef>
            <a:spcAft>
              <a:spcPct val="35000"/>
            </a:spcAft>
            <a:buNone/>
            <a:defRPr cap="all"/>
          </a:pPr>
          <a:r>
            <a:rPr lang="en-US" sz="1400" kern="1200" baseline="0"/>
            <a:t>Provides SSO for users</a:t>
          </a:r>
          <a:endParaRPr lang="en-US" sz="1400" kern="1200"/>
        </a:p>
      </dsp:txBody>
      <dsp:txXfrm>
        <a:off x="2925326" y="3007439"/>
        <a:ext cx="2376177" cy="720000"/>
      </dsp:txXfrm>
    </dsp:sp>
    <dsp:sp modelId="{3393C2F6-81E3-450B-B932-EE5CE1CBB445}">
      <dsp:nvSpPr>
        <dsp:cNvPr id="0" name=""/>
        <dsp:cNvSpPr/>
      </dsp:nvSpPr>
      <dsp:spPr>
        <a:xfrm>
          <a:off x="6180689" y="1106498"/>
          <a:ext cx="1449468" cy="1449468"/>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C0C9BAE-8634-4DEE-AD0A-E80E62775AD7}">
      <dsp:nvSpPr>
        <dsp:cNvPr id="0" name=""/>
        <dsp:cNvSpPr/>
      </dsp:nvSpPr>
      <dsp:spPr>
        <a:xfrm>
          <a:off x="6489592" y="1415401"/>
          <a:ext cx="831662" cy="831662"/>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66B0C3D6-EED9-4338-BA86-F34F9481DC71}">
      <dsp:nvSpPr>
        <dsp:cNvPr id="0" name=""/>
        <dsp:cNvSpPr/>
      </dsp:nvSpPr>
      <dsp:spPr>
        <a:xfrm>
          <a:off x="5717334" y="3007439"/>
          <a:ext cx="2376177"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22300">
            <a:lnSpc>
              <a:spcPct val="90000"/>
            </a:lnSpc>
            <a:spcBef>
              <a:spcPct val="0"/>
            </a:spcBef>
            <a:spcAft>
              <a:spcPct val="35000"/>
            </a:spcAft>
            <a:buNone/>
            <a:defRPr cap="all"/>
          </a:pPr>
          <a:r>
            <a:rPr lang="en-US" sz="1400" kern="1200" baseline="0" dirty="0"/>
            <a:t>Allows users to login through SSO to Procurement systems</a:t>
          </a:r>
          <a:endParaRPr lang="en-US" sz="1400" kern="1200" dirty="0"/>
        </a:p>
      </dsp:txBody>
      <dsp:txXfrm>
        <a:off x="5717334" y="3007439"/>
        <a:ext cx="2376177" cy="720000"/>
      </dsp:txXfrm>
    </dsp:sp>
    <dsp:sp modelId="{305DA574-F90B-41DE-8FB7-F89349DB75DD}">
      <dsp:nvSpPr>
        <dsp:cNvPr id="0" name=""/>
        <dsp:cNvSpPr/>
      </dsp:nvSpPr>
      <dsp:spPr>
        <a:xfrm>
          <a:off x="8972697" y="1106498"/>
          <a:ext cx="1449468" cy="1449468"/>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8622E50-53E1-4275-B7F2-88D2F91EC132}">
      <dsp:nvSpPr>
        <dsp:cNvPr id="0" name=""/>
        <dsp:cNvSpPr/>
      </dsp:nvSpPr>
      <dsp:spPr>
        <a:xfrm>
          <a:off x="9281600" y="1415401"/>
          <a:ext cx="831662" cy="831662"/>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30A1736A-6D2A-4C09-BDDA-D08F75FBD65E}">
      <dsp:nvSpPr>
        <dsp:cNvPr id="0" name=""/>
        <dsp:cNvSpPr/>
      </dsp:nvSpPr>
      <dsp:spPr>
        <a:xfrm>
          <a:off x="8509342" y="3007439"/>
          <a:ext cx="2376177"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22300">
            <a:lnSpc>
              <a:spcPct val="90000"/>
            </a:lnSpc>
            <a:spcBef>
              <a:spcPct val="0"/>
            </a:spcBef>
            <a:spcAft>
              <a:spcPct val="35000"/>
            </a:spcAft>
            <a:buNone/>
            <a:defRPr cap="all"/>
          </a:pPr>
          <a:r>
            <a:rPr lang="en-US" sz="1400" kern="1200" baseline="0"/>
            <a:t>User governance for access to Marketplace</a:t>
          </a:r>
          <a:endParaRPr lang="en-US" sz="1400" kern="1200"/>
        </a:p>
      </dsp:txBody>
      <dsp:txXfrm>
        <a:off x="8509342" y="3007439"/>
        <a:ext cx="2376177" cy="720000"/>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5096309-307D-419A-9FDE-45C362E45B26}">
      <dsp:nvSpPr>
        <dsp:cNvPr id="0" name=""/>
        <dsp:cNvSpPr/>
      </dsp:nvSpPr>
      <dsp:spPr>
        <a:xfrm>
          <a:off x="1377354" y="1351348"/>
          <a:ext cx="1101883" cy="71"/>
        </a:xfrm>
        <a:prstGeom prst="rect">
          <a:avLst/>
        </a:prstGeom>
        <a:solidFill>
          <a:schemeClr val="accent3">
            <a:alpha val="90000"/>
            <a:tint val="40000"/>
            <a:hueOff val="0"/>
            <a:satOff val="0"/>
            <a:lumOff val="0"/>
            <a:alphaOff val="0"/>
          </a:schemeClr>
        </a:solidFill>
        <a:ln w="9525" cap="flat" cmpd="sng" algn="ctr">
          <a:solidFill>
            <a:schemeClr val="accent3">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88C87A3B-BA36-46F8-9130-B0EDBA391AA1}">
      <dsp:nvSpPr>
        <dsp:cNvPr id="0" name=""/>
        <dsp:cNvSpPr/>
      </dsp:nvSpPr>
      <dsp:spPr>
        <a:xfrm>
          <a:off x="2545351" y="1258824"/>
          <a:ext cx="126716" cy="237961"/>
        </a:xfrm>
        <a:prstGeom prst="chevron">
          <a:avLst>
            <a:gd name="adj" fmla="val 90000"/>
          </a:avLst>
        </a:prstGeom>
        <a:solidFill>
          <a:schemeClr val="accent3">
            <a:alpha val="90000"/>
            <a:tint val="40000"/>
            <a:hueOff val="0"/>
            <a:satOff val="0"/>
            <a:lumOff val="0"/>
            <a:alphaOff val="0"/>
          </a:schemeClr>
        </a:solidFill>
        <a:ln w="9525" cap="flat" cmpd="sng" algn="ctr">
          <a:solidFill>
            <a:schemeClr val="accent3">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AF122252-A20A-4D52-AB98-EB6AE112FCD6}">
      <dsp:nvSpPr>
        <dsp:cNvPr id="0" name=""/>
        <dsp:cNvSpPr/>
      </dsp:nvSpPr>
      <dsp:spPr>
        <a:xfrm>
          <a:off x="661287" y="773052"/>
          <a:ext cx="1156664" cy="1156664"/>
        </a:xfrm>
        <a:prstGeom prst="ellipse">
          <a:avLst/>
        </a:prstGeom>
        <a:solidFill>
          <a:schemeClr val="accent3">
            <a:hueOff val="0"/>
            <a:satOff val="0"/>
            <a:lumOff val="0"/>
            <a:alphaOff val="0"/>
          </a:schemeClr>
        </a:solidFill>
        <a:ln w="9525" cap="flat" cmpd="sng" algn="ctr">
          <a:solidFill>
            <a:schemeClr val="accent3">
              <a:hueOff val="0"/>
              <a:satOff val="0"/>
              <a:lumOff val="0"/>
              <a:alphaOff val="0"/>
            </a:schemeClr>
          </a:solidFill>
          <a:prstDash val="solid"/>
        </a:ln>
        <a:effectLst/>
      </dsp:spPr>
      <dsp:style>
        <a:lnRef idx="1">
          <a:scrgbClr r="0" g="0" b="0"/>
        </a:lnRef>
        <a:fillRef idx="3">
          <a:scrgbClr r="0" g="0" b="0"/>
        </a:fillRef>
        <a:effectRef idx="2">
          <a:scrgbClr r="0" g="0" b="0"/>
        </a:effectRef>
        <a:fontRef idx="minor">
          <a:schemeClr val="lt1"/>
        </a:fontRef>
      </dsp:style>
      <dsp:txBody>
        <a:bodyPr spcFirstLastPara="0" vert="horz" wrap="square" lIns="44885" tIns="44885" rIns="44885" bIns="44885" numCol="1" spcCol="1270" anchor="ctr" anchorCtr="0">
          <a:noAutofit/>
        </a:bodyPr>
        <a:lstStyle/>
        <a:p>
          <a:pPr marL="0" lvl="0" indent="0" algn="ctr" defTabSz="2044700">
            <a:lnSpc>
              <a:spcPct val="90000"/>
            </a:lnSpc>
            <a:spcBef>
              <a:spcPct val="0"/>
            </a:spcBef>
            <a:spcAft>
              <a:spcPct val="35000"/>
            </a:spcAft>
            <a:buNone/>
          </a:pPr>
          <a:r>
            <a:rPr lang="en-US" sz="4600" kern="1200"/>
            <a:t>1</a:t>
          </a:r>
        </a:p>
      </dsp:txBody>
      <dsp:txXfrm>
        <a:off x="830677" y="942442"/>
        <a:ext cx="817884" cy="817884"/>
      </dsp:txXfrm>
    </dsp:sp>
    <dsp:sp modelId="{93BCEE63-2FF6-480C-8FCD-64418A85F710}">
      <dsp:nvSpPr>
        <dsp:cNvPr id="0" name=""/>
        <dsp:cNvSpPr/>
      </dsp:nvSpPr>
      <dsp:spPr>
        <a:xfrm>
          <a:off x="0" y="2095315"/>
          <a:ext cx="2479238" cy="1965600"/>
        </a:xfrm>
        <a:prstGeom prst="upArrowCallout">
          <a:avLst>
            <a:gd name="adj1" fmla="val 50000"/>
            <a:gd name="adj2" fmla="val 20000"/>
            <a:gd name="adj3" fmla="val 20000"/>
            <a:gd name="adj4" fmla="val 100000"/>
          </a:avLst>
        </a:prstGeom>
        <a:solidFill>
          <a:schemeClr val="accent3">
            <a:alpha val="90000"/>
            <a:tint val="40000"/>
            <a:hueOff val="0"/>
            <a:satOff val="0"/>
            <a:lumOff val="0"/>
            <a:alphaOff val="0"/>
          </a:schemeClr>
        </a:solidFill>
        <a:ln w="9525" cap="flat" cmpd="sng" algn="ctr">
          <a:solidFill>
            <a:schemeClr val="accent3">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95565" tIns="165100" rIns="195565" bIns="165100" numCol="1" spcCol="1270" anchor="t" anchorCtr="0">
          <a:noAutofit/>
        </a:bodyPr>
        <a:lstStyle/>
        <a:p>
          <a:pPr marL="0" lvl="0" indent="0" algn="l" defTabSz="889000">
            <a:lnSpc>
              <a:spcPct val="90000"/>
            </a:lnSpc>
            <a:spcBef>
              <a:spcPct val="0"/>
            </a:spcBef>
            <a:spcAft>
              <a:spcPct val="35000"/>
            </a:spcAft>
            <a:buNone/>
          </a:pPr>
          <a:r>
            <a:rPr lang="en-US" sz="2000" kern="1200" baseline="0"/>
            <a:t>Avoid unrestricted access</a:t>
          </a:r>
          <a:endParaRPr lang="en-US" sz="2000" kern="1200"/>
        </a:p>
      </dsp:txBody>
      <dsp:txXfrm>
        <a:off x="0" y="2488435"/>
        <a:ext cx="2479238" cy="1572480"/>
      </dsp:txXfrm>
    </dsp:sp>
    <dsp:sp modelId="{532342A5-C2D6-45AE-A80B-2035FDD6726A}">
      <dsp:nvSpPr>
        <dsp:cNvPr id="0" name=""/>
        <dsp:cNvSpPr/>
      </dsp:nvSpPr>
      <dsp:spPr>
        <a:xfrm>
          <a:off x="2754709" y="1351319"/>
          <a:ext cx="2479238" cy="71"/>
        </a:xfrm>
        <a:prstGeom prst="rect">
          <a:avLst/>
        </a:prstGeom>
        <a:solidFill>
          <a:schemeClr val="accent3">
            <a:alpha val="90000"/>
            <a:tint val="40000"/>
            <a:hueOff val="0"/>
            <a:satOff val="0"/>
            <a:lumOff val="0"/>
            <a:alphaOff val="0"/>
          </a:schemeClr>
        </a:solidFill>
        <a:ln w="9525" cap="flat" cmpd="sng" algn="ctr">
          <a:solidFill>
            <a:schemeClr val="accent3">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4310F074-381D-4F64-A4BD-5CF36F205629}">
      <dsp:nvSpPr>
        <dsp:cNvPr id="0" name=""/>
        <dsp:cNvSpPr/>
      </dsp:nvSpPr>
      <dsp:spPr>
        <a:xfrm>
          <a:off x="5300061" y="1258796"/>
          <a:ext cx="126716" cy="238001"/>
        </a:xfrm>
        <a:prstGeom prst="chevron">
          <a:avLst>
            <a:gd name="adj" fmla="val 90000"/>
          </a:avLst>
        </a:prstGeom>
        <a:solidFill>
          <a:schemeClr val="accent3">
            <a:alpha val="90000"/>
            <a:tint val="40000"/>
            <a:hueOff val="0"/>
            <a:satOff val="0"/>
            <a:lumOff val="0"/>
            <a:alphaOff val="0"/>
          </a:schemeClr>
        </a:solidFill>
        <a:ln w="9525" cap="flat" cmpd="sng" algn="ctr">
          <a:solidFill>
            <a:schemeClr val="accent3">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67FE8937-0939-42F9-8CC9-217D94E69F02}">
      <dsp:nvSpPr>
        <dsp:cNvPr id="0" name=""/>
        <dsp:cNvSpPr/>
      </dsp:nvSpPr>
      <dsp:spPr>
        <a:xfrm>
          <a:off x="3415996" y="773022"/>
          <a:ext cx="1156664" cy="1156664"/>
        </a:xfrm>
        <a:prstGeom prst="ellipse">
          <a:avLst/>
        </a:prstGeom>
        <a:solidFill>
          <a:schemeClr val="accent3">
            <a:hueOff val="0"/>
            <a:satOff val="0"/>
            <a:lumOff val="0"/>
            <a:alphaOff val="0"/>
          </a:schemeClr>
        </a:solidFill>
        <a:ln w="9525" cap="flat" cmpd="sng" algn="ctr">
          <a:solidFill>
            <a:schemeClr val="accent3">
              <a:hueOff val="0"/>
              <a:satOff val="0"/>
              <a:lumOff val="0"/>
              <a:alphaOff val="0"/>
            </a:schemeClr>
          </a:solidFill>
          <a:prstDash val="solid"/>
        </a:ln>
        <a:effectLst/>
      </dsp:spPr>
      <dsp:style>
        <a:lnRef idx="1">
          <a:scrgbClr r="0" g="0" b="0"/>
        </a:lnRef>
        <a:fillRef idx="3">
          <a:scrgbClr r="0" g="0" b="0"/>
        </a:fillRef>
        <a:effectRef idx="2">
          <a:scrgbClr r="0" g="0" b="0"/>
        </a:effectRef>
        <a:fontRef idx="minor">
          <a:schemeClr val="lt1"/>
        </a:fontRef>
      </dsp:style>
      <dsp:txBody>
        <a:bodyPr spcFirstLastPara="0" vert="horz" wrap="square" lIns="44885" tIns="44885" rIns="44885" bIns="44885" numCol="1" spcCol="1270" anchor="ctr" anchorCtr="0">
          <a:noAutofit/>
        </a:bodyPr>
        <a:lstStyle/>
        <a:p>
          <a:pPr marL="0" lvl="0" indent="0" algn="ctr" defTabSz="2044700">
            <a:lnSpc>
              <a:spcPct val="90000"/>
            </a:lnSpc>
            <a:spcBef>
              <a:spcPct val="0"/>
            </a:spcBef>
            <a:spcAft>
              <a:spcPct val="35000"/>
            </a:spcAft>
            <a:buNone/>
          </a:pPr>
          <a:r>
            <a:rPr lang="en-US" sz="4600" kern="1200"/>
            <a:t>2</a:t>
          </a:r>
        </a:p>
      </dsp:txBody>
      <dsp:txXfrm>
        <a:off x="3585386" y="942412"/>
        <a:ext cx="817884" cy="817884"/>
      </dsp:txXfrm>
    </dsp:sp>
    <dsp:sp modelId="{2F6F9E24-AB1B-43F6-B7EE-6D67E8D36A80}">
      <dsp:nvSpPr>
        <dsp:cNvPr id="0" name=""/>
        <dsp:cNvSpPr/>
      </dsp:nvSpPr>
      <dsp:spPr>
        <a:xfrm>
          <a:off x="2754709" y="2095283"/>
          <a:ext cx="2479238" cy="1965600"/>
        </a:xfrm>
        <a:prstGeom prst="upArrowCallout">
          <a:avLst>
            <a:gd name="adj1" fmla="val 50000"/>
            <a:gd name="adj2" fmla="val 20000"/>
            <a:gd name="adj3" fmla="val 20000"/>
            <a:gd name="adj4" fmla="val 100000"/>
          </a:avLst>
        </a:prstGeom>
        <a:solidFill>
          <a:schemeClr val="accent3">
            <a:alpha val="90000"/>
            <a:tint val="40000"/>
            <a:hueOff val="0"/>
            <a:satOff val="0"/>
            <a:lumOff val="0"/>
            <a:alphaOff val="0"/>
          </a:schemeClr>
        </a:solidFill>
        <a:ln w="9525" cap="flat" cmpd="sng" algn="ctr">
          <a:solidFill>
            <a:schemeClr val="accent3">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95565" tIns="165100" rIns="195565" bIns="165100" numCol="1" spcCol="1270" anchor="t" anchorCtr="0">
          <a:noAutofit/>
        </a:bodyPr>
        <a:lstStyle/>
        <a:p>
          <a:pPr marL="0" lvl="0" indent="0" algn="l" defTabSz="889000">
            <a:lnSpc>
              <a:spcPct val="90000"/>
            </a:lnSpc>
            <a:spcBef>
              <a:spcPct val="0"/>
            </a:spcBef>
            <a:spcAft>
              <a:spcPct val="35000"/>
            </a:spcAft>
            <a:buNone/>
          </a:pPr>
          <a:r>
            <a:rPr lang="en-US" sz="2000" kern="1200" baseline="0"/>
            <a:t>Have a subset of products</a:t>
          </a:r>
          <a:endParaRPr lang="en-US" sz="2000" kern="1200"/>
        </a:p>
      </dsp:txBody>
      <dsp:txXfrm>
        <a:off x="2754709" y="2488403"/>
        <a:ext cx="2479238" cy="1572480"/>
      </dsp:txXfrm>
    </dsp:sp>
    <dsp:sp modelId="{0C18A599-53E6-41A4-8CF6-18D261CE5671}">
      <dsp:nvSpPr>
        <dsp:cNvPr id="0" name=""/>
        <dsp:cNvSpPr/>
      </dsp:nvSpPr>
      <dsp:spPr>
        <a:xfrm>
          <a:off x="5509418" y="1351332"/>
          <a:ext cx="2479238" cy="72"/>
        </a:xfrm>
        <a:prstGeom prst="rect">
          <a:avLst/>
        </a:prstGeom>
        <a:solidFill>
          <a:schemeClr val="accent3">
            <a:alpha val="90000"/>
            <a:tint val="40000"/>
            <a:hueOff val="0"/>
            <a:satOff val="0"/>
            <a:lumOff val="0"/>
            <a:alphaOff val="0"/>
          </a:schemeClr>
        </a:solidFill>
        <a:ln w="9525" cap="flat" cmpd="sng" algn="ctr">
          <a:solidFill>
            <a:schemeClr val="accent3">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EBAA590E-552A-4C24-960E-CC35C613CE64}">
      <dsp:nvSpPr>
        <dsp:cNvPr id="0" name=""/>
        <dsp:cNvSpPr/>
      </dsp:nvSpPr>
      <dsp:spPr>
        <a:xfrm>
          <a:off x="8054770" y="1258808"/>
          <a:ext cx="126716" cy="238012"/>
        </a:xfrm>
        <a:prstGeom prst="chevron">
          <a:avLst>
            <a:gd name="adj" fmla="val 90000"/>
          </a:avLst>
        </a:prstGeom>
        <a:solidFill>
          <a:schemeClr val="accent3">
            <a:alpha val="90000"/>
            <a:tint val="40000"/>
            <a:hueOff val="0"/>
            <a:satOff val="0"/>
            <a:lumOff val="0"/>
            <a:alphaOff val="0"/>
          </a:schemeClr>
        </a:solidFill>
        <a:ln w="9525" cap="flat" cmpd="sng" algn="ctr">
          <a:solidFill>
            <a:schemeClr val="accent3">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84DC29AA-23D2-4F52-8987-3C35D1678CD0}">
      <dsp:nvSpPr>
        <dsp:cNvPr id="0" name=""/>
        <dsp:cNvSpPr/>
      </dsp:nvSpPr>
      <dsp:spPr>
        <a:xfrm>
          <a:off x="6170706" y="773036"/>
          <a:ext cx="1156664" cy="1156664"/>
        </a:xfrm>
        <a:prstGeom prst="ellipse">
          <a:avLst/>
        </a:prstGeom>
        <a:solidFill>
          <a:schemeClr val="accent3">
            <a:hueOff val="0"/>
            <a:satOff val="0"/>
            <a:lumOff val="0"/>
            <a:alphaOff val="0"/>
          </a:schemeClr>
        </a:solidFill>
        <a:ln w="9525" cap="flat" cmpd="sng" algn="ctr">
          <a:solidFill>
            <a:schemeClr val="accent3">
              <a:hueOff val="0"/>
              <a:satOff val="0"/>
              <a:lumOff val="0"/>
              <a:alphaOff val="0"/>
            </a:schemeClr>
          </a:solidFill>
          <a:prstDash val="solid"/>
        </a:ln>
        <a:effectLst/>
      </dsp:spPr>
      <dsp:style>
        <a:lnRef idx="1">
          <a:scrgbClr r="0" g="0" b="0"/>
        </a:lnRef>
        <a:fillRef idx="3">
          <a:scrgbClr r="0" g="0" b="0"/>
        </a:fillRef>
        <a:effectRef idx="2">
          <a:scrgbClr r="0" g="0" b="0"/>
        </a:effectRef>
        <a:fontRef idx="minor">
          <a:schemeClr val="lt1"/>
        </a:fontRef>
      </dsp:style>
      <dsp:txBody>
        <a:bodyPr spcFirstLastPara="0" vert="horz" wrap="square" lIns="44885" tIns="44885" rIns="44885" bIns="44885" numCol="1" spcCol="1270" anchor="ctr" anchorCtr="0">
          <a:noAutofit/>
        </a:bodyPr>
        <a:lstStyle/>
        <a:p>
          <a:pPr marL="0" lvl="0" indent="0" algn="ctr" defTabSz="2044700">
            <a:lnSpc>
              <a:spcPct val="90000"/>
            </a:lnSpc>
            <a:spcBef>
              <a:spcPct val="0"/>
            </a:spcBef>
            <a:spcAft>
              <a:spcPct val="35000"/>
            </a:spcAft>
            <a:buNone/>
          </a:pPr>
          <a:r>
            <a:rPr lang="en-US" sz="4600" kern="1200"/>
            <a:t>3</a:t>
          </a:r>
        </a:p>
      </dsp:txBody>
      <dsp:txXfrm>
        <a:off x="6340096" y="942426"/>
        <a:ext cx="817884" cy="817884"/>
      </dsp:txXfrm>
    </dsp:sp>
    <dsp:sp modelId="{053BAE7E-A75F-4C6A-9ED3-9FD03710B866}">
      <dsp:nvSpPr>
        <dsp:cNvPr id="0" name=""/>
        <dsp:cNvSpPr/>
      </dsp:nvSpPr>
      <dsp:spPr>
        <a:xfrm>
          <a:off x="5509418" y="2095315"/>
          <a:ext cx="2479238" cy="1965600"/>
        </a:xfrm>
        <a:prstGeom prst="upArrowCallout">
          <a:avLst>
            <a:gd name="adj1" fmla="val 50000"/>
            <a:gd name="adj2" fmla="val 20000"/>
            <a:gd name="adj3" fmla="val 20000"/>
            <a:gd name="adj4" fmla="val 100000"/>
          </a:avLst>
        </a:prstGeom>
        <a:solidFill>
          <a:schemeClr val="accent3">
            <a:alpha val="90000"/>
            <a:tint val="40000"/>
            <a:hueOff val="0"/>
            <a:satOff val="0"/>
            <a:lumOff val="0"/>
            <a:alphaOff val="0"/>
          </a:schemeClr>
        </a:solidFill>
        <a:ln w="9525" cap="flat" cmpd="sng" algn="ctr">
          <a:solidFill>
            <a:schemeClr val="accent3">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95565" tIns="165100" rIns="195565" bIns="165100" numCol="1" spcCol="1270" anchor="t" anchorCtr="0">
          <a:noAutofit/>
        </a:bodyPr>
        <a:lstStyle/>
        <a:p>
          <a:pPr marL="0" lvl="0" indent="0" algn="l" defTabSz="889000">
            <a:lnSpc>
              <a:spcPct val="90000"/>
            </a:lnSpc>
            <a:spcBef>
              <a:spcPct val="0"/>
            </a:spcBef>
            <a:spcAft>
              <a:spcPct val="35000"/>
            </a:spcAft>
            <a:buNone/>
          </a:pPr>
          <a:r>
            <a:rPr lang="en-US" sz="2000" kern="1200" baseline="0"/>
            <a:t>Tailor the marketplace for organizational needs</a:t>
          </a:r>
          <a:endParaRPr lang="en-US" sz="2000" kern="1200"/>
        </a:p>
      </dsp:txBody>
      <dsp:txXfrm>
        <a:off x="5509418" y="2488435"/>
        <a:ext cx="2479238" cy="1572480"/>
      </dsp:txXfrm>
    </dsp:sp>
    <dsp:sp modelId="{541B1AC1-E0D8-4DA3-9693-AF574AD410C7}">
      <dsp:nvSpPr>
        <dsp:cNvPr id="0" name=""/>
        <dsp:cNvSpPr/>
      </dsp:nvSpPr>
      <dsp:spPr>
        <a:xfrm>
          <a:off x="8264128" y="1351332"/>
          <a:ext cx="1239619" cy="72"/>
        </a:xfrm>
        <a:prstGeom prst="rect">
          <a:avLst/>
        </a:prstGeom>
        <a:solidFill>
          <a:schemeClr val="accent3">
            <a:alpha val="90000"/>
            <a:tint val="40000"/>
            <a:hueOff val="0"/>
            <a:satOff val="0"/>
            <a:lumOff val="0"/>
            <a:alphaOff val="0"/>
          </a:schemeClr>
        </a:solidFill>
        <a:ln w="9525" cap="flat" cmpd="sng" algn="ctr">
          <a:solidFill>
            <a:schemeClr val="accent3">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F59BFEEC-CBFC-42E7-AC37-54ED890E9A63}">
      <dsp:nvSpPr>
        <dsp:cNvPr id="0" name=""/>
        <dsp:cNvSpPr/>
      </dsp:nvSpPr>
      <dsp:spPr>
        <a:xfrm>
          <a:off x="8925415" y="773036"/>
          <a:ext cx="1156664" cy="1156664"/>
        </a:xfrm>
        <a:prstGeom prst="ellipse">
          <a:avLst/>
        </a:prstGeom>
        <a:solidFill>
          <a:schemeClr val="accent3">
            <a:hueOff val="0"/>
            <a:satOff val="0"/>
            <a:lumOff val="0"/>
            <a:alphaOff val="0"/>
          </a:schemeClr>
        </a:solidFill>
        <a:ln w="9525" cap="flat" cmpd="sng" algn="ctr">
          <a:solidFill>
            <a:schemeClr val="accent3">
              <a:hueOff val="0"/>
              <a:satOff val="0"/>
              <a:lumOff val="0"/>
              <a:alphaOff val="0"/>
            </a:schemeClr>
          </a:solidFill>
          <a:prstDash val="solid"/>
        </a:ln>
        <a:effectLst/>
      </dsp:spPr>
      <dsp:style>
        <a:lnRef idx="1">
          <a:scrgbClr r="0" g="0" b="0"/>
        </a:lnRef>
        <a:fillRef idx="3">
          <a:scrgbClr r="0" g="0" b="0"/>
        </a:fillRef>
        <a:effectRef idx="2">
          <a:scrgbClr r="0" g="0" b="0"/>
        </a:effectRef>
        <a:fontRef idx="minor">
          <a:schemeClr val="lt1"/>
        </a:fontRef>
      </dsp:style>
      <dsp:txBody>
        <a:bodyPr spcFirstLastPara="0" vert="horz" wrap="square" lIns="44885" tIns="44885" rIns="44885" bIns="44885" numCol="1" spcCol="1270" anchor="ctr" anchorCtr="0">
          <a:noAutofit/>
        </a:bodyPr>
        <a:lstStyle/>
        <a:p>
          <a:pPr marL="0" lvl="0" indent="0" algn="ctr" defTabSz="2044700">
            <a:lnSpc>
              <a:spcPct val="90000"/>
            </a:lnSpc>
            <a:spcBef>
              <a:spcPct val="0"/>
            </a:spcBef>
            <a:spcAft>
              <a:spcPct val="35000"/>
            </a:spcAft>
            <a:buNone/>
          </a:pPr>
          <a:r>
            <a:rPr lang="en-US" sz="4600" kern="1200"/>
            <a:t>4</a:t>
          </a:r>
        </a:p>
      </dsp:txBody>
      <dsp:txXfrm>
        <a:off x="9094805" y="942426"/>
        <a:ext cx="817884" cy="817884"/>
      </dsp:txXfrm>
    </dsp:sp>
    <dsp:sp modelId="{193D835A-B190-4097-BB37-EBD8EFCA5B58}">
      <dsp:nvSpPr>
        <dsp:cNvPr id="0" name=""/>
        <dsp:cNvSpPr/>
      </dsp:nvSpPr>
      <dsp:spPr>
        <a:xfrm>
          <a:off x="8264128" y="2095315"/>
          <a:ext cx="2479238" cy="1965600"/>
        </a:xfrm>
        <a:prstGeom prst="upArrowCallout">
          <a:avLst>
            <a:gd name="adj1" fmla="val 50000"/>
            <a:gd name="adj2" fmla="val 20000"/>
            <a:gd name="adj3" fmla="val 20000"/>
            <a:gd name="adj4" fmla="val 100000"/>
          </a:avLst>
        </a:prstGeom>
        <a:solidFill>
          <a:schemeClr val="accent3">
            <a:alpha val="90000"/>
            <a:tint val="40000"/>
            <a:hueOff val="0"/>
            <a:satOff val="0"/>
            <a:lumOff val="0"/>
            <a:alphaOff val="0"/>
          </a:schemeClr>
        </a:solidFill>
        <a:ln w="9525" cap="flat" cmpd="sng" algn="ctr">
          <a:solidFill>
            <a:schemeClr val="accent3">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95565" tIns="165100" rIns="195565" bIns="165100" numCol="1" spcCol="1270" anchor="t" anchorCtr="0">
          <a:noAutofit/>
        </a:bodyPr>
        <a:lstStyle/>
        <a:p>
          <a:pPr marL="0" lvl="0" indent="0" algn="l" defTabSz="889000">
            <a:lnSpc>
              <a:spcPct val="90000"/>
            </a:lnSpc>
            <a:spcBef>
              <a:spcPct val="0"/>
            </a:spcBef>
            <a:spcAft>
              <a:spcPct val="35000"/>
            </a:spcAft>
            <a:buNone/>
          </a:pPr>
          <a:r>
            <a:rPr lang="en-US" sz="2000" kern="1200" baseline="0" dirty="0"/>
            <a:t>Create specific offer collections at the subscription level</a:t>
          </a:r>
          <a:endParaRPr lang="en-US" sz="2000" kern="1200" dirty="0"/>
        </a:p>
      </dsp:txBody>
      <dsp:txXfrm>
        <a:off x="8264128" y="2488435"/>
        <a:ext cx="2479238" cy="1572480"/>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0DBE902-140E-43C4-8CAE-B7EB3D2A7223}">
      <dsp:nvSpPr>
        <dsp:cNvPr id="0" name=""/>
        <dsp:cNvSpPr/>
      </dsp:nvSpPr>
      <dsp:spPr>
        <a:xfrm>
          <a:off x="0" y="0"/>
          <a:ext cx="11018837"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562DAD4-9FDC-45A9-9AE3-78751362B493}">
      <dsp:nvSpPr>
        <dsp:cNvPr id="0" name=""/>
        <dsp:cNvSpPr/>
      </dsp:nvSpPr>
      <dsp:spPr>
        <a:xfrm>
          <a:off x="0" y="0"/>
          <a:ext cx="11018837" cy="12084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920" tIns="121920" rIns="121920" bIns="121920" numCol="1" spcCol="1270" anchor="t" anchorCtr="0">
          <a:noAutofit/>
        </a:bodyPr>
        <a:lstStyle/>
        <a:p>
          <a:pPr marL="0" lvl="0" indent="0" algn="l" defTabSz="1422400">
            <a:lnSpc>
              <a:spcPct val="90000"/>
            </a:lnSpc>
            <a:spcBef>
              <a:spcPct val="0"/>
            </a:spcBef>
            <a:spcAft>
              <a:spcPct val="35000"/>
            </a:spcAft>
            <a:buNone/>
          </a:pPr>
          <a:r>
            <a:rPr lang="en-US" sz="3200" kern="1200" baseline="0"/>
            <a:t>Blocks products from purchase in public marketplace</a:t>
          </a:r>
          <a:endParaRPr lang="en-US" sz="3200" kern="1200"/>
        </a:p>
      </dsp:txBody>
      <dsp:txXfrm>
        <a:off x="0" y="0"/>
        <a:ext cx="11018837" cy="1208484"/>
      </dsp:txXfrm>
    </dsp:sp>
    <dsp:sp modelId="{8EF03BD3-77B9-47AC-A999-C8C8C4C9C185}">
      <dsp:nvSpPr>
        <dsp:cNvPr id="0" name=""/>
        <dsp:cNvSpPr/>
      </dsp:nvSpPr>
      <dsp:spPr>
        <a:xfrm>
          <a:off x="0" y="1208484"/>
          <a:ext cx="11018837"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D0B2B12-A86F-44B5-85E0-CE99A74E8F85}">
      <dsp:nvSpPr>
        <dsp:cNvPr id="0" name=""/>
        <dsp:cNvSpPr/>
      </dsp:nvSpPr>
      <dsp:spPr>
        <a:xfrm>
          <a:off x="0" y="1208484"/>
          <a:ext cx="11018837" cy="12084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920" tIns="121920" rIns="121920" bIns="121920" numCol="1" spcCol="1270" anchor="t" anchorCtr="0">
          <a:noAutofit/>
        </a:bodyPr>
        <a:lstStyle/>
        <a:p>
          <a:pPr marL="0" lvl="0" indent="0" algn="l" defTabSz="1422400">
            <a:lnSpc>
              <a:spcPct val="90000"/>
            </a:lnSpc>
            <a:spcBef>
              <a:spcPct val="0"/>
            </a:spcBef>
            <a:spcAft>
              <a:spcPct val="35000"/>
            </a:spcAft>
            <a:buNone/>
          </a:pPr>
          <a:r>
            <a:rPr lang="en-US" sz="3200" kern="1200" baseline="0"/>
            <a:t>Users submit requests to add a product to the allowlist</a:t>
          </a:r>
          <a:endParaRPr lang="en-US" sz="3200" kern="1200"/>
        </a:p>
      </dsp:txBody>
      <dsp:txXfrm>
        <a:off x="0" y="1208484"/>
        <a:ext cx="11018837" cy="1208484"/>
      </dsp:txXfrm>
    </dsp:sp>
    <dsp:sp modelId="{8398ADA1-D379-4DD1-8756-E9B8F775C25C}">
      <dsp:nvSpPr>
        <dsp:cNvPr id="0" name=""/>
        <dsp:cNvSpPr/>
      </dsp:nvSpPr>
      <dsp:spPr>
        <a:xfrm>
          <a:off x="0" y="2416969"/>
          <a:ext cx="11018837"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797FAB6-F0C4-43DC-B314-AEBAAEFBC348}">
      <dsp:nvSpPr>
        <dsp:cNvPr id="0" name=""/>
        <dsp:cNvSpPr/>
      </dsp:nvSpPr>
      <dsp:spPr>
        <a:xfrm>
          <a:off x="0" y="2416969"/>
          <a:ext cx="11018837" cy="12084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920" tIns="121920" rIns="121920" bIns="121920" numCol="1" spcCol="1270" anchor="t" anchorCtr="0">
          <a:noAutofit/>
        </a:bodyPr>
        <a:lstStyle/>
        <a:p>
          <a:pPr marL="0" lvl="0" indent="0" algn="l" defTabSz="1422400">
            <a:lnSpc>
              <a:spcPct val="90000"/>
            </a:lnSpc>
            <a:spcBef>
              <a:spcPct val="0"/>
            </a:spcBef>
            <a:spcAft>
              <a:spcPct val="35000"/>
            </a:spcAft>
            <a:buNone/>
          </a:pPr>
          <a:r>
            <a:rPr lang="en-US" sz="3200" kern="1200" baseline="0"/>
            <a:t>Marketplace administrator has authority to approve request</a:t>
          </a:r>
          <a:endParaRPr lang="en-US" sz="3200" kern="1200"/>
        </a:p>
      </dsp:txBody>
      <dsp:txXfrm>
        <a:off x="0" y="2416969"/>
        <a:ext cx="11018837" cy="1208484"/>
      </dsp:txXfrm>
    </dsp:sp>
    <dsp:sp modelId="{CB3FE173-EA37-4B0F-AE25-C7F4DEE94519}">
      <dsp:nvSpPr>
        <dsp:cNvPr id="0" name=""/>
        <dsp:cNvSpPr/>
      </dsp:nvSpPr>
      <dsp:spPr>
        <a:xfrm>
          <a:off x="0" y="3625453"/>
          <a:ext cx="11018837"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ED721C8-F77C-4A91-857C-106EBAF30D3C}">
      <dsp:nvSpPr>
        <dsp:cNvPr id="0" name=""/>
        <dsp:cNvSpPr/>
      </dsp:nvSpPr>
      <dsp:spPr>
        <a:xfrm>
          <a:off x="0" y="3625453"/>
          <a:ext cx="11018837" cy="12084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920" tIns="121920" rIns="121920" bIns="121920" numCol="1" spcCol="1270" anchor="t" anchorCtr="0">
          <a:noAutofit/>
        </a:bodyPr>
        <a:lstStyle/>
        <a:p>
          <a:pPr marL="0" lvl="0" indent="0" algn="l" defTabSz="1422400">
            <a:lnSpc>
              <a:spcPct val="90000"/>
            </a:lnSpc>
            <a:spcBef>
              <a:spcPct val="0"/>
            </a:spcBef>
            <a:spcAft>
              <a:spcPct val="35000"/>
            </a:spcAft>
            <a:buNone/>
          </a:pPr>
          <a:r>
            <a:rPr lang="en-US" sz="3200" kern="1200" baseline="0"/>
            <a:t>Private offers can be automatically enabled, if configured to</a:t>
          </a:r>
          <a:endParaRPr lang="en-US" sz="3200" kern="1200"/>
        </a:p>
      </dsp:txBody>
      <dsp:txXfrm>
        <a:off x="0" y="3625453"/>
        <a:ext cx="11018837" cy="1208484"/>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BFD211D-10BB-400E-BC0C-3BDFB2F913A8}">
      <dsp:nvSpPr>
        <dsp:cNvPr id="0" name=""/>
        <dsp:cNvSpPr/>
      </dsp:nvSpPr>
      <dsp:spPr>
        <a:xfrm rot="5400000">
          <a:off x="6549625" y="-2346988"/>
          <a:ext cx="1886368" cy="7052056"/>
        </a:xfrm>
        <a:prstGeom prst="round2SameRect">
          <a:avLst/>
        </a:prstGeom>
        <a:solidFill>
          <a:schemeClr val="accent2">
            <a:lumMod val="20000"/>
            <a:lumOff val="80000"/>
            <a:alpha val="9000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38100" rIns="76200" bIns="38100" numCol="1" spcCol="1270" anchor="ctr" anchorCtr="0">
          <a:noAutofit/>
        </a:bodyPr>
        <a:lstStyle/>
        <a:p>
          <a:pPr marL="228600" lvl="1" indent="-228600" algn="l" defTabSz="889000">
            <a:lnSpc>
              <a:spcPct val="90000"/>
            </a:lnSpc>
            <a:spcBef>
              <a:spcPct val="0"/>
            </a:spcBef>
            <a:spcAft>
              <a:spcPct val="15000"/>
            </a:spcAft>
            <a:buChar char="•"/>
          </a:pPr>
          <a:r>
            <a:rPr lang="en-US" sz="2000" kern="1200" baseline="0"/>
            <a:t>Role-based access control is within subscription</a:t>
          </a:r>
          <a:endParaRPr lang="en-US" sz="2000" kern="1200"/>
        </a:p>
        <a:p>
          <a:pPr marL="228600" lvl="1" indent="-228600" algn="l" defTabSz="889000">
            <a:lnSpc>
              <a:spcPct val="90000"/>
            </a:lnSpc>
            <a:spcBef>
              <a:spcPct val="0"/>
            </a:spcBef>
            <a:spcAft>
              <a:spcPct val="15000"/>
            </a:spcAft>
            <a:buChar char="•"/>
          </a:pPr>
          <a:r>
            <a:rPr lang="en-US" sz="2000" kern="1200" baseline="0"/>
            <a:t>Anyone with subscription owner/contributor permissions can purchase</a:t>
          </a:r>
          <a:endParaRPr lang="en-US" sz="2000" kern="1200"/>
        </a:p>
        <a:p>
          <a:pPr marL="228600" lvl="1" indent="-228600" algn="l" defTabSz="889000">
            <a:lnSpc>
              <a:spcPct val="90000"/>
            </a:lnSpc>
            <a:spcBef>
              <a:spcPct val="0"/>
            </a:spcBef>
            <a:spcAft>
              <a:spcPct val="15000"/>
            </a:spcAft>
            <a:buChar char="•"/>
          </a:pPr>
          <a:r>
            <a:rPr lang="en-US" sz="2000" kern="1200" baseline="0"/>
            <a:t>No "out of the box" integration with enterprise procurement or workflow</a:t>
          </a:r>
          <a:endParaRPr lang="en-US" sz="2000" kern="1200"/>
        </a:p>
      </dsp:txBody>
      <dsp:txXfrm rot="-5400000">
        <a:off x="3966782" y="327940"/>
        <a:ext cx="6959971" cy="1702198"/>
      </dsp:txXfrm>
    </dsp:sp>
    <dsp:sp modelId="{C17A61C0-9B07-499E-93CE-8DBF948A5B72}">
      <dsp:nvSpPr>
        <dsp:cNvPr id="0" name=""/>
        <dsp:cNvSpPr/>
      </dsp:nvSpPr>
      <dsp:spPr>
        <a:xfrm>
          <a:off x="0" y="59"/>
          <a:ext cx="3966781" cy="2357960"/>
        </a:xfrm>
        <a:prstGeom prst="roundRect">
          <a:avLst/>
        </a:prstGeom>
        <a:solidFill>
          <a:schemeClr val="accent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55245" rIns="110490" bIns="55245" numCol="1" spcCol="1270" anchor="ctr" anchorCtr="0">
          <a:noAutofit/>
        </a:bodyPr>
        <a:lstStyle/>
        <a:p>
          <a:pPr marL="0" lvl="0" indent="0" algn="ctr" defTabSz="1289050">
            <a:lnSpc>
              <a:spcPct val="90000"/>
            </a:lnSpc>
            <a:spcBef>
              <a:spcPct val="0"/>
            </a:spcBef>
            <a:spcAft>
              <a:spcPct val="35000"/>
            </a:spcAft>
            <a:buNone/>
          </a:pPr>
          <a:r>
            <a:rPr lang="en-US" sz="2900" kern="1200" baseline="0"/>
            <a:t>Azure Marketplace Limitations</a:t>
          </a:r>
          <a:endParaRPr lang="en-US" sz="2900" kern="1200"/>
        </a:p>
      </dsp:txBody>
      <dsp:txXfrm>
        <a:off x="115106" y="115165"/>
        <a:ext cx="3736569" cy="2127748"/>
      </dsp:txXfrm>
    </dsp:sp>
    <dsp:sp modelId="{00CF4A83-DEB6-4C79-A309-E1F6386EADA4}">
      <dsp:nvSpPr>
        <dsp:cNvPr id="0" name=""/>
        <dsp:cNvSpPr/>
      </dsp:nvSpPr>
      <dsp:spPr>
        <a:xfrm rot="5400000">
          <a:off x="6549625" y="128870"/>
          <a:ext cx="1886368" cy="7052056"/>
        </a:xfrm>
        <a:prstGeom prst="round2SameRect">
          <a:avLst/>
        </a:prstGeom>
        <a:solidFill>
          <a:schemeClr val="accent2">
            <a:lumMod val="20000"/>
            <a:lumOff val="80000"/>
            <a:alpha val="9000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38100" rIns="76200" bIns="38100" numCol="1" spcCol="1270" anchor="ctr" anchorCtr="0">
          <a:noAutofit/>
        </a:bodyPr>
        <a:lstStyle/>
        <a:p>
          <a:pPr marL="228600" lvl="1" indent="-228600" algn="l" defTabSz="889000">
            <a:lnSpc>
              <a:spcPct val="90000"/>
            </a:lnSpc>
            <a:spcBef>
              <a:spcPct val="0"/>
            </a:spcBef>
            <a:spcAft>
              <a:spcPct val="15000"/>
            </a:spcAft>
            <a:buChar char="•"/>
          </a:pPr>
          <a:r>
            <a:rPr lang="en-US" sz="2000" kern="1200" baseline="0"/>
            <a:t>Must be managed externally to the Azure portal</a:t>
          </a:r>
          <a:endParaRPr lang="en-US" sz="2000" kern="1200"/>
        </a:p>
        <a:p>
          <a:pPr marL="457200" lvl="2" indent="-228600" algn="l" defTabSz="889000">
            <a:lnSpc>
              <a:spcPct val="90000"/>
            </a:lnSpc>
            <a:spcBef>
              <a:spcPct val="0"/>
            </a:spcBef>
            <a:spcAft>
              <a:spcPct val="15000"/>
            </a:spcAft>
            <a:buChar char="•"/>
          </a:pPr>
          <a:r>
            <a:rPr lang="en-US" sz="2000" kern="1200" baseline="0"/>
            <a:t>Examples: Identifying who authorizes purchases</a:t>
          </a:r>
          <a:endParaRPr lang="en-US" sz="2000" kern="1200"/>
        </a:p>
        <a:p>
          <a:pPr marL="457200" lvl="2" indent="-228600" algn="l" defTabSz="889000">
            <a:lnSpc>
              <a:spcPct val="90000"/>
            </a:lnSpc>
            <a:spcBef>
              <a:spcPct val="0"/>
            </a:spcBef>
            <a:spcAft>
              <a:spcPct val="15000"/>
            </a:spcAft>
            <a:buChar char="•"/>
          </a:pPr>
          <a:r>
            <a:rPr lang="en-US" sz="2000" kern="1200" baseline="0"/>
            <a:t>Established approval hierarchies</a:t>
          </a:r>
          <a:endParaRPr lang="en-US" sz="2000" kern="1200"/>
        </a:p>
        <a:p>
          <a:pPr marL="457200" lvl="2" indent="-228600" algn="l" defTabSz="889000">
            <a:lnSpc>
              <a:spcPct val="90000"/>
            </a:lnSpc>
            <a:spcBef>
              <a:spcPct val="0"/>
            </a:spcBef>
            <a:spcAft>
              <a:spcPct val="15000"/>
            </a:spcAft>
            <a:buChar char="•"/>
          </a:pPr>
          <a:r>
            <a:rPr lang="en-US" sz="2000" kern="1200" baseline="0"/>
            <a:t>Determination of who executes purchase</a:t>
          </a:r>
          <a:endParaRPr lang="en-US" sz="2000" kern="1200"/>
        </a:p>
      </dsp:txBody>
      <dsp:txXfrm rot="-5400000">
        <a:off x="3966782" y="2803799"/>
        <a:ext cx="6959971" cy="1702198"/>
      </dsp:txXfrm>
    </dsp:sp>
    <dsp:sp modelId="{6611B5D6-ABA5-419E-B96D-0DE591D8C5FE}">
      <dsp:nvSpPr>
        <dsp:cNvPr id="0" name=""/>
        <dsp:cNvSpPr/>
      </dsp:nvSpPr>
      <dsp:spPr>
        <a:xfrm>
          <a:off x="0" y="2475918"/>
          <a:ext cx="3966781" cy="2357960"/>
        </a:xfrm>
        <a:prstGeom prst="roundRect">
          <a:avLst/>
        </a:prstGeom>
        <a:solidFill>
          <a:schemeClr val="accent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55245" rIns="110490" bIns="55245" numCol="1" spcCol="1270" anchor="ctr" anchorCtr="0">
          <a:noAutofit/>
        </a:bodyPr>
        <a:lstStyle/>
        <a:p>
          <a:pPr marL="0" lvl="0" indent="0" algn="ctr" defTabSz="1289050">
            <a:lnSpc>
              <a:spcPct val="90000"/>
            </a:lnSpc>
            <a:spcBef>
              <a:spcPct val="0"/>
            </a:spcBef>
            <a:spcAft>
              <a:spcPct val="35000"/>
            </a:spcAft>
            <a:buNone/>
          </a:pPr>
          <a:r>
            <a:rPr lang="en-US" sz="2900" kern="1200" baseline="0"/>
            <a:t>Organization must adhere to procurement policies and procedures</a:t>
          </a:r>
          <a:endParaRPr lang="en-US" sz="2900" kern="1200"/>
        </a:p>
      </dsp:txBody>
      <dsp:txXfrm>
        <a:off x="115106" y="2591024"/>
        <a:ext cx="3736569" cy="212774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C72A67E-F027-4D72-87B6-23EB78A0DEFE}">
      <dsp:nvSpPr>
        <dsp:cNvPr id="0" name=""/>
        <dsp:cNvSpPr/>
      </dsp:nvSpPr>
      <dsp:spPr>
        <a:xfrm>
          <a:off x="3186399" y="1051651"/>
          <a:ext cx="700743" cy="91440"/>
        </a:xfrm>
        <a:custGeom>
          <a:avLst/>
          <a:gdLst/>
          <a:ahLst/>
          <a:cxnLst/>
          <a:rect l="0" t="0" r="0" b="0"/>
          <a:pathLst>
            <a:path>
              <a:moveTo>
                <a:pt x="0" y="45720"/>
              </a:moveTo>
              <a:lnTo>
                <a:pt x="700743" y="45720"/>
              </a:lnTo>
            </a:path>
          </a:pathLst>
        </a:custGeom>
        <a:noFill/>
        <a:ln w="9525" cap="flat" cmpd="sng" algn="ctr">
          <a:solidFill>
            <a:schemeClr val="accent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3518487" y="1093714"/>
        <a:ext cx="36567" cy="7313"/>
      </dsp:txXfrm>
    </dsp:sp>
    <dsp:sp modelId="{F445DC15-31BF-4C55-83B9-B0136CC587EE}">
      <dsp:nvSpPr>
        <dsp:cNvPr id="0" name=""/>
        <dsp:cNvSpPr/>
      </dsp:nvSpPr>
      <dsp:spPr>
        <a:xfrm>
          <a:off x="8447" y="143445"/>
          <a:ext cx="3179752" cy="1907851"/>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200150">
            <a:lnSpc>
              <a:spcPct val="90000"/>
            </a:lnSpc>
            <a:spcBef>
              <a:spcPct val="0"/>
            </a:spcBef>
            <a:spcAft>
              <a:spcPct val="35000"/>
            </a:spcAft>
            <a:buNone/>
          </a:pPr>
          <a:r>
            <a:rPr lang="en-US" sz="2700" kern="1200" dirty="0"/>
            <a:t>Go to the Marketplace</a:t>
          </a:r>
        </a:p>
      </dsp:txBody>
      <dsp:txXfrm>
        <a:off x="8447" y="143445"/>
        <a:ext cx="3179752" cy="1907851"/>
      </dsp:txXfrm>
    </dsp:sp>
    <dsp:sp modelId="{2EFF4D28-6C6A-4B85-83C6-9CD2C53A2423}">
      <dsp:nvSpPr>
        <dsp:cNvPr id="0" name=""/>
        <dsp:cNvSpPr/>
      </dsp:nvSpPr>
      <dsp:spPr>
        <a:xfrm>
          <a:off x="7097495" y="1051651"/>
          <a:ext cx="700743" cy="91440"/>
        </a:xfrm>
        <a:custGeom>
          <a:avLst/>
          <a:gdLst/>
          <a:ahLst/>
          <a:cxnLst/>
          <a:rect l="0" t="0" r="0" b="0"/>
          <a:pathLst>
            <a:path>
              <a:moveTo>
                <a:pt x="0" y="45720"/>
              </a:moveTo>
              <a:lnTo>
                <a:pt x="700743" y="45720"/>
              </a:lnTo>
            </a:path>
          </a:pathLst>
        </a:custGeom>
        <a:noFill/>
        <a:ln w="9525" cap="flat" cmpd="sng" algn="ctr">
          <a:solidFill>
            <a:schemeClr val="accent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7429583" y="1093714"/>
        <a:ext cx="36567" cy="7313"/>
      </dsp:txXfrm>
    </dsp:sp>
    <dsp:sp modelId="{EB354E04-058A-4AA4-85A8-7C138C55625A}">
      <dsp:nvSpPr>
        <dsp:cNvPr id="0" name=""/>
        <dsp:cNvSpPr/>
      </dsp:nvSpPr>
      <dsp:spPr>
        <a:xfrm>
          <a:off x="3919542" y="143445"/>
          <a:ext cx="3179752" cy="1907851"/>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200150">
            <a:lnSpc>
              <a:spcPct val="90000"/>
            </a:lnSpc>
            <a:spcBef>
              <a:spcPct val="0"/>
            </a:spcBef>
            <a:spcAft>
              <a:spcPct val="35000"/>
            </a:spcAft>
            <a:buNone/>
          </a:pPr>
          <a:r>
            <a:rPr lang="en-US" sz="2700" kern="1200"/>
            <a:t>Use the Browse apps to select IT &amp; Management tools</a:t>
          </a:r>
        </a:p>
      </dsp:txBody>
      <dsp:txXfrm>
        <a:off x="3919542" y="143445"/>
        <a:ext cx="3179752" cy="1907851"/>
      </dsp:txXfrm>
    </dsp:sp>
    <dsp:sp modelId="{9C55E4F5-1522-458D-A6B7-A164F1E08114}">
      <dsp:nvSpPr>
        <dsp:cNvPr id="0" name=""/>
        <dsp:cNvSpPr/>
      </dsp:nvSpPr>
      <dsp:spPr>
        <a:xfrm>
          <a:off x="1598323" y="2049497"/>
          <a:ext cx="7822191" cy="700743"/>
        </a:xfrm>
        <a:custGeom>
          <a:avLst/>
          <a:gdLst/>
          <a:ahLst/>
          <a:cxnLst/>
          <a:rect l="0" t="0" r="0" b="0"/>
          <a:pathLst>
            <a:path>
              <a:moveTo>
                <a:pt x="7822191" y="0"/>
              </a:moveTo>
              <a:lnTo>
                <a:pt x="7822191" y="367471"/>
              </a:lnTo>
              <a:lnTo>
                <a:pt x="0" y="367471"/>
              </a:lnTo>
              <a:lnTo>
                <a:pt x="0" y="700743"/>
              </a:lnTo>
            </a:path>
          </a:pathLst>
        </a:custGeom>
        <a:noFill/>
        <a:ln w="9525" cap="flat" cmpd="sng" algn="ctr">
          <a:solidFill>
            <a:schemeClr val="accent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5313011" y="2396212"/>
        <a:ext cx="392815" cy="7313"/>
      </dsp:txXfrm>
    </dsp:sp>
    <dsp:sp modelId="{183043C8-3433-4F21-9078-6ED8653DBAD2}">
      <dsp:nvSpPr>
        <dsp:cNvPr id="0" name=""/>
        <dsp:cNvSpPr/>
      </dsp:nvSpPr>
      <dsp:spPr>
        <a:xfrm>
          <a:off x="7830638" y="143445"/>
          <a:ext cx="3179752" cy="1907851"/>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200150">
            <a:lnSpc>
              <a:spcPct val="90000"/>
            </a:lnSpc>
            <a:spcBef>
              <a:spcPct val="0"/>
            </a:spcBef>
            <a:spcAft>
              <a:spcPct val="35000"/>
            </a:spcAft>
            <a:buNone/>
          </a:pPr>
          <a:r>
            <a:rPr lang="en-US" sz="2700" kern="1200"/>
            <a:t>Filter the Operating System to Windows</a:t>
          </a:r>
        </a:p>
      </dsp:txBody>
      <dsp:txXfrm>
        <a:off x="7830638" y="143445"/>
        <a:ext cx="3179752" cy="1907851"/>
      </dsp:txXfrm>
    </dsp:sp>
    <dsp:sp modelId="{58EA2DB5-C91A-4AC2-836A-D2FBE795CA26}">
      <dsp:nvSpPr>
        <dsp:cNvPr id="0" name=""/>
        <dsp:cNvSpPr/>
      </dsp:nvSpPr>
      <dsp:spPr>
        <a:xfrm>
          <a:off x="3186399" y="3690846"/>
          <a:ext cx="700743" cy="91440"/>
        </a:xfrm>
        <a:custGeom>
          <a:avLst/>
          <a:gdLst/>
          <a:ahLst/>
          <a:cxnLst/>
          <a:rect l="0" t="0" r="0" b="0"/>
          <a:pathLst>
            <a:path>
              <a:moveTo>
                <a:pt x="0" y="45720"/>
              </a:moveTo>
              <a:lnTo>
                <a:pt x="700743" y="45720"/>
              </a:lnTo>
            </a:path>
          </a:pathLst>
        </a:custGeom>
        <a:noFill/>
        <a:ln w="9525" cap="flat" cmpd="sng" algn="ctr">
          <a:solidFill>
            <a:schemeClr val="accent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3518487" y="3732909"/>
        <a:ext cx="36567" cy="7313"/>
      </dsp:txXfrm>
    </dsp:sp>
    <dsp:sp modelId="{DE462207-B980-4D00-8F94-90F97EA9412C}">
      <dsp:nvSpPr>
        <dsp:cNvPr id="0" name=""/>
        <dsp:cNvSpPr/>
      </dsp:nvSpPr>
      <dsp:spPr>
        <a:xfrm>
          <a:off x="8447" y="2782640"/>
          <a:ext cx="3179752" cy="1907851"/>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200150">
            <a:lnSpc>
              <a:spcPct val="90000"/>
            </a:lnSpc>
            <a:spcBef>
              <a:spcPct val="0"/>
            </a:spcBef>
            <a:spcAft>
              <a:spcPct val="35000"/>
            </a:spcAft>
            <a:buNone/>
          </a:pPr>
          <a:r>
            <a:rPr lang="en-US" sz="2700" kern="1200"/>
            <a:t>Filter the Pricing Model to Free</a:t>
          </a:r>
        </a:p>
      </dsp:txBody>
      <dsp:txXfrm>
        <a:off x="8447" y="2782640"/>
        <a:ext cx="3179752" cy="1907851"/>
      </dsp:txXfrm>
    </dsp:sp>
    <dsp:sp modelId="{0786F294-3133-4B99-AD7C-C385CF6EA7A7}">
      <dsp:nvSpPr>
        <dsp:cNvPr id="0" name=""/>
        <dsp:cNvSpPr/>
      </dsp:nvSpPr>
      <dsp:spPr>
        <a:xfrm>
          <a:off x="7097495" y="3690846"/>
          <a:ext cx="700743" cy="91440"/>
        </a:xfrm>
        <a:custGeom>
          <a:avLst/>
          <a:gdLst/>
          <a:ahLst/>
          <a:cxnLst/>
          <a:rect l="0" t="0" r="0" b="0"/>
          <a:pathLst>
            <a:path>
              <a:moveTo>
                <a:pt x="0" y="45720"/>
              </a:moveTo>
              <a:lnTo>
                <a:pt x="700743" y="45720"/>
              </a:lnTo>
            </a:path>
          </a:pathLst>
        </a:custGeom>
        <a:noFill/>
        <a:ln w="9525" cap="flat" cmpd="sng" algn="ctr">
          <a:solidFill>
            <a:schemeClr val="accent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7429583" y="3732909"/>
        <a:ext cx="36567" cy="7313"/>
      </dsp:txXfrm>
    </dsp:sp>
    <dsp:sp modelId="{5FDAE6CF-FDEA-41E3-B115-135907836B45}">
      <dsp:nvSpPr>
        <dsp:cNvPr id="0" name=""/>
        <dsp:cNvSpPr/>
      </dsp:nvSpPr>
      <dsp:spPr>
        <a:xfrm>
          <a:off x="3919542" y="2782640"/>
          <a:ext cx="3179752" cy="1907851"/>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200150">
            <a:lnSpc>
              <a:spcPct val="90000"/>
            </a:lnSpc>
            <a:spcBef>
              <a:spcPct val="0"/>
            </a:spcBef>
            <a:spcAft>
              <a:spcPct val="35000"/>
            </a:spcAft>
            <a:buNone/>
          </a:pPr>
          <a:r>
            <a:rPr lang="en-US" sz="2700" kern="1200"/>
            <a:t>Find an app</a:t>
          </a:r>
        </a:p>
      </dsp:txBody>
      <dsp:txXfrm>
        <a:off x="3919542" y="2782640"/>
        <a:ext cx="3179752" cy="1907851"/>
      </dsp:txXfrm>
    </dsp:sp>
    <dsp:sp modelId="{A8EA05AD-E3DC-4F8F-BDF0-1B3252899B3C}">
      <dsp:nvSpPr>
        <dsp:cNvPr id="0" name=""/>
        <dsp:cNvSpPr/>
      </dsp:nvSpPr>
      <dsp:spPr>
        <a:xfrm>
          <a:off x="7830638" y="2782640"/>
          <a:ext cx="3179752" cy="1907851"/>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200150">
            <a:lnSpc>
              <a:spcPct val="90000"/>
            </a:lnSpc>
            <a:spcBef>
              <a:spcPct val="0"/>
            </a:spcBef>
            <a:spcAft>
              <a:spcPct val="35000"/>
            </a:spcAft>
            <a:buNone/>
          </a:pPr>
          <a:r>
            <a:rPr lang="en-US" sz="2700" kern="1200"/>
            <a:t>Mark it as a favorite</a:t>
          </a:r>
        </a:p>
      </dsp:txBody>
      <dsp:txXfrm>
        <a:off x="7830638" y="2782640"/>
        <a:ext cx="3179752" cy="190785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B63662-A64F-4742-80BD-13B2EE6EE59A}">
      <dsp:nvSpPr>
        <dsp:cNvPr id="0" name=""/>
        <dsp:cNvSpPr/>
      </dsp:nvSpPr>
      <dsp:spPr>
        <a:xfrm>
          <a:off x="3186399" y="1051651"/>
          <a:ext cx="700743" cy="91440"/>
        </a:xfrm>
        <a:custGeom>
          <a:avLst/>
          <a:gdLst/>
          <a:ahLst/>
          <a:cxnLst/>
          <a:rect l="0" t="0" r="0" b="0"/>
          <a:pathLst>
            <a:path>
              <a:moveTo>
                <a:pt x="0" y="45720"/>
              </a:moveTo>
              <a:lnTo>
                <a:pt x="700743" y="45720"/>
              </a:lnTo>
            </a:path>
          </a:pathLst>
        </a:custGeom>
        <a:noFill/>
        <a:ln w="9525" cap="flat" cmpd="sng" algn="ctr">
          <a:solidFill>
            <a:schemeClr val="accent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3518487" y="1093714"/>
        <a:ext cx="36567" cy="7313"/>
      </dsp:txXfrm>
    </dsp:sp>
    <dsp:sp modelId="{0390AEC8-994B-4FEA-B749-B4F6AEA6448F}">
      <dsp:nvSpPr>
        <dsp:cNvPr id="0" name=""/>
        <dsp:cNvSpPr/>
      </dsp:nvSpPr>
      <dsp:spPr>
        <a:xfrm>
          <a:off x="8447" y="143445"/>
          <a:ext cx="3179752" cy="1907851"/>
        </a:xfrm>
        <a:prstGeom prst="rect">
          <a:avLst/>
        </a:prstGeom>
        <a:solidFill>
          <a:schemeClr val="accent2">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377950">
            <a:lnSpc>
              <a:spcPct val="90000"/>
            </a:lnSpc>
            <a:spcBef>
              <a:spcPct val="0"/>
            </a:spcBef>
            <a:spcAft>
              <a:spcPct val="35000"/>
            </a:spcAft>
            <a:buNone/>
          </a:pPr>
          <a:r>
            <a:rPr lang="en-US" sz="3100" kern="1200"/>
            <a:t>Go to the Azure Marketplace</a:t>
          </a:r>
        </a:p>
      </dsp:txBody>
      <dsp:txXfrm>
        <a:off x="8447" y="143445"/>
        <a:ext cx="3179752" cy="1907851"/>
      </dsp:txXfrm>
    </dsp:sp>
    <dsp:sp modelId="{24ECAFEB-5CEC-4490-8822-77B62561BCA5}">
      <dsp:nvSpPr>
        <dsp:cNvPr id="0" name=""/>
        <dsp:cNvSpPr/>
      </dsp:nvSpPr>
      <dsp:spPr>
        <a:xfrm>
          <a:off x="7097495" y="1051651"/>
          <a:ext cx="700743" cy="91440"/>
        </a:xfrm>
        <a:custGeom>
          <a:avLst/>
          <a:gdLst/>
          <a:ahLst/>
          <a:cxnLst/>
          <a:rect l="0" t="0" r="0" b="0"/>
          <a:pathLst>
            <a:path>
              <a:moveTo>
                <a:pt x="0" y="45720"/>
              </a:moveTo>
              <a:lnTo>
                <a:pt x="700743" y="45720"/>
              </a:lnTo>
            </a:path>
          </a:pathLst>
        </a:custGeom>
        <a:noFill/>
        <a:ln w="9525" cap="flat" cmpd="sng" algn="ctr">
          <a:solidFill>
            <a:schemeClr val="accent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7429583" y="1093714"/>
        <a:ext cx="36567" cy="7313"/>
      </dsp:txXfrm>
    </dsp:sp>
    <dsp:sp modelId="{806819AA-FDB8-4EA3-B78D-CF20A4554C35}">
      <dsp:nvSpPr>
        <dsp:cNvPr id="0" name=""/>
        <dsp:cNvSpPr/>
      </dsp:nvSpPr>
      <dsp:spPr>
        <a:xfrm>
          <a:off x="3919542" y="143445"/>
          <a:ext cx="3179752" cy="1907851"/>
        </a:xfrm>
        <a:prstGeom prst="rect">
          <a:avLst/>
        </a:prstGeom>
        <a:solidFill>
          <a:schemeClr val="accent2">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377950">
            <a:lnSpc>
              <a:spcPct val="90000"/>
            </a:lnSpc>
            <a:spcBef>
              <a:spcPct val="0"/>
            </a:spcBef>
            <a:spcAft>
              <a:spcPct val="35000"/>
            </a:spcAft>
            <a:buNone/>
          </a:pPr>
          <a:r>
            <a:rPr lang="en-US" sz="3100" kern="1200"/>
            <a:t>Use the Browse apps to select Security</a:t>
          </a:r>
        </a:p>
      </dsp:txBody>
      <dsp:txXfrm>
        <a:off x="3919542" y="143445"/>
        <a:ext cx="3179752" cy="1907851"/>
      </dsp:txXfrm>
    </dsp:sp>
    <dsp:sp modelId="{D76321F7-E2E7-4843-812A-6D47076374BF}">
      <dsp:nvSpPr>
        <dsp:cNvPr id="0" name=""/>
        <dsp:cNvSpPr/>
      </dsp:nvSpPr>
      <dsp:spPr>
        <a:xfrm>
          <a:off x="1598323" y="2049497"/>
          <a:ext cx="7822191" cy="700743"/>
        </a:xfrm>
        <a:custGeom>
          <a:avLst/>
          <a:gdLst/>
          <a:ahLst/>
          <a:cxnLst/>
          <a:rect l="0" t="0" r="0" b="0"/>
          <a:pathLst>
            <a:path>
              <a:moveTo>
                <a:pt x="7822191" y="0"/>
              </a:moveTo>
              <a:lnTo>
                <a:pt x="7822191" y="367471"/>
              </a:lnTo>
              <a:lnTo>
                <a:pt x="0" y="367471"/>
              </a:lnTo>
              <a:lnTo>
                <a:pt x="0" y="700743"/>
              </a:lnTo>
            </a:path>
          </a:pathLst>
        </a:custGeom>
        <a:noFill/>
        <a:ln w="9525" cap="flat" cmpd="sng" algn="ctr">
          <a:solidFill>
            <a:schemeClr val="accent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5313011" y="2396212"/>
        <a:ext cx="392815" cy="7313"/>
      </dsp:txXfrm>
    </dsp:sp>
    <dsp:sp modelId="{CDFD5395-0CD3-43F5-A883-A3B288C2CF18}">
      <dsp:nvSpPr>
        <dsp:cNvPr id="0" name=""/>
        <dsp:cNvSpPr/>
      </dsp:nvSpPr>
      <dsp:spPr>
        <a:xfrm>
          <a:off x="7830638" y="143445"/>
          <a:ext cx="3179752" cy="1907851"/>
        </a:xfrm>
        <a:prstGeom prst="rect">
          <a:avLst/>
        </a:prstGeom>
        <a:solidFill>
          <a:schemeClr val="accent2">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377950">
            <a:lnSpc>
              <a:spcPct val="90000"/>
            </a:lnSpc>
            <a:spcBef>
              <a:spcPct val="0"/>
            </a:spcBef>
            <a:spcAft>
              <a:spcPct val="35000"/>
            </a:spcAft>
            <a:buNone/>
          </a:pPr>
          <a:r>
            <a:rPr lang="en-US" sz="3100" kern="1200"/>
            <a:t>Filter the Pricing Model to Pay as You Go</a:t>
          </a:r>
        </a:p>
      </dsp:txBody>
      <dsp:txXfrm>
        <a:off x="7830638" y="143445"/>
        <a:ext cx="3179752" cy="1907851"/>
      </dsp:txXfrm>
    </dsp:sp>
    <dsp:sp modelId="{38EF6879-DAD1-4755-95CA-EF2AAD9E7166}">
      <dsp:nvSpPr>
        <dsp:cNvPr id="0" name=""/>
        <dsp:cNvSpPr/>
      </dsp:nvSpPr>
      <dsp:spPr>
        <a:xfrm>
          <a:off x="3186399" y="3690846"/>
          <a:ext cx="700743" cy="91440"/>
        </a:xfrm>
        <a:custGeom>
          <a:avLst/>
          <a:gdLst/>
          <a:ahLst/>
          <a:cxnLst/>
          <a:rect l="0" t="0" r="0" b="0"/>
          <a:pathLst>
            <a:path>
              <a:moveTo>
                <a:pt x="0" y="45720"/>
              </a:moveTo>
              <a:lnTo>
                <a:pt x="700743" y="45720"/>
              </a:lnTo>
            </a:path>
          </a:pathLst>
        </a:custGeom>
        <a:noFill/>
        <a:ln w="9525" cap="flat" cmpd="sng" algn="ctr">
          <a:solidFill>
            <a:schemeClr val="accent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3518487" y="3732909"/>
        <a:ext cx="36567" cy="7313"/>
      </dsp:txXfrm>
    </dsp:sp>
    <dsp:sp modelId="{74A0A6FC-EE98-497B-8DFA-D675F5B6EC71}">
      <dsp:nvSpPr>
        <dsp:cNvPr id="0" name=""/>
        <dsp:cNvSpPr/>
      </dsp:nvSpPr>
      <dsp:spPr>
        <a:xfrm>
          <a:off x="8447" y="2782640"/>
          <a:ext cx="3179752" cy="1907851"/>
        </a:xfrm>
        <a:prstGeom prst="rect">
          <a:avLst/>
        </a:prstGeom>
        <a:solidFill>
          <a:schemeClr val="accent2">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377950">
            <a:lnSpc>
              <a:spcPct val="90000"/>
            </a:lnSpc>
            <a:spcBef>
              <a:spcPct val="0"/>
            </a:spcBef>
            <a:spcAft>
              <a:spcPct val="35000"/>
            </a:spcAft>
            <a:buNone/>
          </a:pPr>
          <a:r>
            <a:rPr lang="en-US" sz="3100" kern="1200"/>
            <a:t>Find an app</a:t>
          </a:r>
        </a:p>
      </dsp:txBody>
      <dsp:txXfrm>
        <a:off x="8447" y="2782640"/>
        <a:ext cx="3179752" cy="1907851"/>
      </dsp:txXfrm>
    </dsp:sp>
    <dsp:sp modelId="{B106E791-7769-43ED-8163-E2828C07A89A}">
      <dsp:nvSpPr>
        <dsp:cNvPr id="0" name=""/>
        <dsp:cNvSpPr/>
      </dsp:nvSpPr>
      <dsp:spPr>
        <a:xfrm>
          <a:off x="3919542" y="2782640"/>
          <a:ext cx="3179752" cy="1907851"/>
        </a:xfrm>
        <a:prstGeom prst="rect">
          <a:avLst/>
        </a:prstGeom>
        <a:solidFill>
          <a:schemeClr val="accent2">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377950">
            <a:lnSpc>
              <a:spcPct val="90000"/>
            </a:lnSpc>
            <a:spcBef>
              <a:spcPct val="0"/>
            </a:spcBef>
            <a:spcAft>
              <a:spcPct val="35000"/>
            </a:spcAft>
            <a:buNone/>
          </a:pPr>
          <a:r>
            <a:rPr lang="en-US" sz="3100" kern="1200"/>
            <a:t>Mark it as a favorite</a:t>
          </a:r>
        </a:p>
      </dsp:txBody>
      <dsp:txXfrm>
        <a:off x="3919542" y="2782640"/>
        <a:ext cx="3179752" cy="1907851"/>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C037EE7-7DAD-401E-A647-BA2223688587}">
      <dsp:nvSpPr>
        <dsp:cNvPr id="0" name=""/>
        <dsp:cNvSpPr/>
      </dsp:nvSpPr>
      <dsp:spPr>
        <a:xfrm>
          <a:off x="3186399" y="1051651"/>
          <a:ext cx="700743" cy="91440"/>
        </a:xfrm>
        <a:custGeom>
          <a:avLst/>
          <a:gdLst/>
          <a:ahLst/>
          <a:cxnLst/>
          <a:rect l="0" t="0" r="0" b="0"/>
          <a:pathLst>
            <a:path>
              <a:moveTo>
                <a:pt x="0" y="45720"/>
              </a:moveTo>
              <a:lnTo>
                <a:pt x="244098" y="45719"/>
              </a:lnTo>
            </a:path>
            <a:path>
              <a:moveTo>
                <a:pt x="456644" y="45719"/>
              </a:moveTo>
              <a:lnTo>
                <a:pt x="700743" y="45720"/>
              </a:lnTo>
            </a:path>
          </a:pathLst>
        </a:custGeom>
        <a:noFill/>
        <a:ln w="9525" cap="flat" cmpd="sng" algn="ctr">
          <a:solidFill>
            <a:schemeClr val="accent3">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1155700">
            <a:lnSpc>
              <a:spcPct val="90000"/>
            </a:lnSpc>
            <a:spcBef>
              <a:spcPct val="0"/>
            </a:spcBef>
            <a:spcAft>
              <a:spcPct val="35000"/>
            </a:spcAft>
            <a:buNone/>
          </a:pPr>
          <a:r>
            <a:rPr lang="en-US" sz="2600" kern="1200"/>
            <a:t>1</a:t>
          </a:r>
        </a:p>
      </dsp:txBody>
      <dsp:txXfrm>
        <a:off x="3430497" y="898194"/>
        <a:ext cx="212546" cy="398353"/>
      </dsp:txXfrm>
    </dsp:sp>
    <dsp:sp modelId="{0DD83287-1354-4032-AC79-D31A005BECD9}">
      <dsp:nvSpPr>
        <dsp:cNvPr id="0" name=""/>
        <dsp:cNvSpPr/>
      </dsp:nvSpPr>
      <dsp:spPr>
        <a:xfrm>
          <a:off x="8447" y="143445"/>
          <a:ext cx="3179752" cy="1907851"/>
        </a:xfrm>
        <a:prstGeom prst="rect">
          <a:avLst/>
        </a:prstGeom>
        <a:solidFill>
          <a:schemeClr val="accent3">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466850">
            <a:lnSpc>
              <a:spcPct val="90000"/>
            </a:lnSpc>
            <a:spcBef>
              <a:spcPct val="0"/>
            </a:spcBef>
            <a:spcAft>
              <a:spcPct val="35000"/>
            </a:spcAft>
            <a:buNone/>
          </a:pPr>
          <a:r>
            <a:rPr lang="en-US" sz="3300" kern="1200" dirty="0"/>
            <a:t>Go to the Marketplace</a:t>
          </a:r>
        </a:p>
      </dsp:txBody>
      <dsp:txXfrm>
        <a:off x="8447" y="143445"/>
        <a:ext cx="3179752" cy="1907851"/>
      </dsp:txXfrm>
    </dsp:sp>
    <dsp:sp modelId="{760C35F8-5D9D-4415-B97B-6DB55E3450E7}">
      <dsp:nvSpPr>
        <dsp:cNvPr id="0" name=""/>
        <dsp:cNvSpPr/>
      </dsp:nvSpPr>
      <dsp:spPr>
        <a:xfrm>
          <a:off x="7097495" y="1051651"/>
          <a:ext cx="700743" cy="91440"/>
        </a:xfrm>
        <a:custGeom>
          <a:avLst/>
          <a:gdLst/>
          <a:ahLst/>
          <a:cxnLst/>
          <a:rect l="0" t="0" r="0" b="0"/>
          <a:pathLst>
            <a:path>
              <a:moveTo>
                <a:pt x="0" y="45720"/>
              </a:moveTo>
              <a:lnTo>
                <a:pt x="244098" y="45719"/>
              </a:lnTo>
            </a:path>
            <a:path>
              <a:moveTo>
                <a:pt x="456644" y="45719"/>
              </a:moveTo>
              <a:lnTo>
                <a:pt x="700743" y="45720"/>
              </a:lnTo>
            </a:path>
          </a:pathLst>
        </a:custGeom>
        <a:noFill/>
        <a:ln w="9525" cap="flat" cmpd="sng" algn="ctr">
          <a:solidFill>
            <a:schemeClr val="accent3">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1155700">
            <a:lnSpc>
              <a:spcPct val="90000"/>
            </a:lnSpc>
            <a:spcBef>
              <a:spcPct val="0"/>
            </a:spcBef>
            <a:spcAft>
              <a:spcPct val="35000"/>
            </a:spcAft>
            <a:buNone/>
          </a:pPr>
          <a:r>
            <a:rPr lang="en-US" sz="2600" kern="1200"/>
            <a:t>2</a:t>
          </a:r>
        </a:p>
      </dsp:txBody>
      <dsp:txXfrm>
        <a:off x="7341593" y="898194"/>
        <a:ext cx="212546" cy="398353"/>
      </dsp:txXfrm>
    </dsp:sp>
    <dsp:sp modelId="{D506B59F-90AC-4849-B0F0-D22110039739}">
      <dsp:nvSpPr>
        <dsp:cNvPr id="0" name=""/>
        <dsp:cNvSpPr/>
      </dsp:nvSpPr>
      <dsp:spPr>
        <a:xfrm>
          <a:off x="3919542" y="143445"/>
          <a:ext cx="3179752" cy="1907851"/>
        </a:xfrm>
        <a:prstGeom prst="rect">
          <a:avLst/>
        </a:prstGeom>
        <a:solidFill>
          <a:schemeClr val="accent3">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466850">
            <a:lnSpc>
              <a:spcPct val="90000"/>
            </a:lnSpc>
            <a:spcBef>
              <a:spcPct val="0"/>
            </a:spcBef>
            <a:spcAft>
              <a:spcPct val="35000"/>
            </a:spcAft>
            <a:buNone/>
          </a:pPr>
          <a:r>
            <a:rPr lang="en-US" sz="3300" kern="1200"/>
            <a:t>Use the Browse apps to select Security</a:t>
          </a:r>
        </a:p>
      </dsp:txBody>
      <dsp:txXfrm>
        <a:off x="3919542" y="143445"/>
        <a:ext cx="3179752" cy="1907851"/>
      </dsp:txXfrm>
    </dsp:sp>
    <dsp:sp modelId="{85CF5366-BFF1-4E36-AE72-16DC499C11E5}">
      <dsp:nvSpPr>
        <dsp:cNvPr id="0" name=""/>
        <dsp:cNvSpPr/>
      </dsp:nvSpPr>
      <dsp:spPr>
        <a:xfrm>
          <a:off x="1598323" y="2049497"/>
          <a:ext cx="7822191" cy="700743"/>
        </a:xfrm>
        <a:custGeom>
          <a:avLst/>
          <a:gdLst/>
          <a:ahLst/>
          <a:cxnLst/>
          <a:rect l="0" t="0" r="0" b="0"/>
          <a:pathLst>
            <a:path>
              <a:moveTo>
                <a:pt x="7822191" y="0"/>
              </a:moveTo>
              <a:lnTo>
                <a:pt x="7822191" y="367471"/>
              </a:lnTo>
              <a:lnTo>
                <a:pt x="0" y="367471"/>
              </a:lnTo>
              <a:lnTo>
                <a:pt x="0" y="700743"/>
              </a:lnTo>
            </a:path>
          </a:pathLst>
        </a:custGeom>
        <a:noFill/>
        <a:ln w="9525" cap="flat" cmpd="sng" algn="ctr">
          <a:solidFill>
            <a:schemeClr val="accent3">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1155700">
            <a:lnSpc>
              <a:spcPct val="90000"/>
            </a:lnSpc>
            <a:spcBef>
              <a:spcPct val="0"/>
            </a:spcBef>
            <a:spcAft>
              <a:spcPct val="35000"/>
            </a:spcAft>
            <a:buNone/>
          </a:pPr>
          <a:r>
            <a:rPr lang="en-US" sz="2600" kern="1200"/>
            <a:t>3</a:t>
          </a:r>
        </a:p>
      </dsp:txBody>
      <dsp:txXfrm>
        <a:off x="5313011" y="2200692"/>
        <a:ext cx="392815" cy="398353"/>
      </dsp:txXfrm>
    </dsp:sp>
    <dsp:sp modelId="{1A1D4672-1836-4676-B75F-50F0B9B32C78}">
      <dsp:nvSpPr>
        <dsp:cNvPr id="0" name=""/>
        <dsp:cNvSpPr/>
      </dsp:nvSpPr>
      <dsp:spPr>
        <a:xfrm>
          <a:off x="7830638" y="143445"/>
          <a:ext cx="3179752" cy="1907851"/>
        </a:xfrm>
        <a:prstGeom prst="rect">
          <a:avLst/>
        </a:prstGeom>
        <a:solidFill>
          <a:schemeClr val="accent3">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466850">
            <a:lnSpc>
              <a:spcPct val="90000"/>
            </a:lnSpc>
            <a:spcBef>
              <a:spcPct val="0"/>
            </a:spcBef>
            <a:spcAft>
              <a:spcPct val="35000"/>
            </a:spcAft>
            <a:buNone/>
          </a:pPr>
          <a:r>
            <a:rPr lang="en-US" sz="3300" kern="1200"/>
            <a:t>Filter the Service Types to Assessment</a:t>
          </a:r>
        </a:p>
      </dsp:txBody>
      <dsp:txXfrm>
        <a:off x="7830638" y="143445"/>
        <a:ext cx="3179752" cy="1907851"/>
      </dsp:txXfrm>
    </dsp:sp>
    <dsp:sp modelId="{88581CB4-3B0A-4B05-83E3-A1BE183169CF}">
      <dsp:nvSpPr>
        <dsp:cNvPr id="0" name=""/>
        <dsp:cNvSpPr/>
      </dsp:nvSpPr>
      <dsp:spPr>
        <a:xfrm>
          <a:off x="3186399" y="3690846"/>
          <a:ext cx="700743" cy="91440"/>
        </a:xfrm>
        <a:custGeom>
          <a:avLst/>
          <a:gdLst/>
          <a:ahLst/>
          <a:cxnLst/>
          <a:rect l="0" t="0" r="0" b="0"/>
          <a:pathLst>
            <a:path>
              <a:moveTo>
                <a:pt x="0" y="45720"/>
              </a:moveTo>
              <a:lnTo>
                <a:pt x="244098" y="45719"/>
              </a:lnTo>
            </a:path>
            <a:path>
              <a:moveTo>
                <a:pt x="456644" y="45719"/>
              </a:moveTo>
              <a:lnTo>
                <a:pt x="700743" y="45720"/>
              </a:lnTo>
            </a:path>
          </a:pathLst>
        </a:custGeom>
        <a:noFill/>
        <a:ln w="9525" cap="flat" cmpd="sng" algn="ctr">
          <a:solidFill>
            <a:schemeClr val="accent3">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1155700">
            <a:lnSpc>
              <a:spcPct val="90000"/>
            </a:lnSpc>
            <a:spcBef>
              <a:spcPct val="0"/>
            </a:spcBef>
            <a:spcAft>
              <a:spcPct val="35000"/>
            </a:spcAft>
            <a:buNone/>
          </a:pPr>
          <a:r>
            <a:rPr lang="en-US" sz="2600" kern="1200"/>
            <a:t>4</a:t>
          </a:r>
        </a:p>
      </dsp:txBody>
      <dsp:txXfrm>
        <a:off x="3430497" y="3537389"/>
        <a:ext cx="212546" cy="398353"/>
      </dsp:txXfrm>
    </dsp:sp>
    <dsp:sp modelId="{0AC1AE17-963B-40DB-9338-9942976DD3F0}">
      <dsp:nvSpPr>
        <dsp:cNvPr id="0" name=""/>
        <dsp:cNvSpPr/>
      </dsp:nvSpPr>
      <dsp:spPr>
        <a:xfrm>
          <a:off x="8447" y="2782640"/>
          <a:ext cx="3179752" cy="1907851"/>
        </a:xfrm>
        <a:prstGeom prst="rect">
          <a:avLst/>
        </a:prstGeom>
        <a:solidFill>
          <a:schemeClr val="accent3">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466850">
            <a:lnSpc>
              <a:spcPct val="90000"/>
            </a:lnSpc>
            <a:spcBef>
              <a:spcPct val="0"/>
            </a:spcBef>
            <a:spcAft>
              <a:spcPct val="35000"/>
            </a:spcAft>
            <a:buNone/>
          </a:pPr>
          <a:r>
            <a:rPr lang="en-US" sz="3300" kern="1200"/>
            <a:t>Filter the Pricing Model to Free</a:t>
          </a:r>
        </a:p>
      </dsp:txBody>
      <dsp:txXfrm>
        <a:off x="8447" y="2782640"/>
        <a:ext cx="3179752" cy="1907851"/>
      </dsp:txXfrm>
    </dsp:sp>
    <dsp:sp modelId="{3A54A1EE-0C57-41B4-9ADC-C018D8D71E58}">
      <dsp:nvSpPr>
        <dsp:cNvPr id="0" name=""/>
        <dsp:cNvSpPr/>
      </dsp:nvSpPr>
      <dsp:spPr>
        <a:xfrm>
          <a:off x="7097495" y="3690846"/>
          <a:ext cx="700743" cy="91440"/>
        </a:xfrm>
        <a:custGeom>
          <a:avLst/>
          <a:gdLst/>
          <a:ahLst/>
          <a:cxnLst/>
          <a:rect l="0" t="0" r="0" b="0"/>
          <a:pathLst>
            <a:path>
              <a:moveTo>
                <a:pt x="0" y="45720"/>
              </a:moveTo>
              <a:lnTo>
                <a:pt x="244098" y="45719"/>
              </a:lnTo>
            </a:path>
            <a:path>
              <a:moveTo>
                <a:pt x="456644" y="45719"/>
              </a:moveTo>
              <a:lnTo>
                <a:pt x="700743" y="45720"/>
              </a:lnTo>
            </a:path>
          </a:pathLst>
        </a:custGeom>
        <a:noFill/>
        <a:ln w="9525" cap="flat" cmpd="sng" algn="ctr">
          <a:solidFill>
            <a:schemeClr val="accent3">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1155700">
            <a:lnSpc>
              <a:spcPct val="90000"/>
            </a:lnSpc>
            <a:spcBef>
              <a:spcPct val="0"/>
            </a:spcBef>
            <a:spcAft>
              <a:spcPct val="35000"/>
            </a:spcAft>
            <a:buNone/>
          </a:pPr>
          <a:r>
            <a:rPr lang="en-US" sz="2600" kern="1200"/>
            <a:t>5</a:t>
          </a:r>
        </a:p>
      </dsp:txBody>
      <dsp:txXfrm>
        <a:off x="7341593" y="3537389"/>
        <a:ext cx="212546" cy="398353"/>
      </dsp:txXfrm>
    </dsp:sp>
    <dsp:sp modelId="{134C389A-8072-43E0-BD43-C6E317D29A1A}">
      <dsp:nvSpPr>
        <dsp:cNvPr id="0" name=""/>
        <dsp:cNvSpPr/>
      </dsp:nvSpPr>
      <dsp:spPr>
        <a:xfrm>
          <a:off x="3919542" y="2782640"/>
          <a:ext cx="3179752" cy="1907851"/>
        </a:xfrm>
        <a:prstGeom prst="rect">
          <a:avLst/>
        </a:prstGeom>
        <a:solidFill>
          <a:schemeClr val="accent3">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466850">
            <a:lnSpc>
              <a:spcPct val="90000"/>
            </a:lnSpc>
            <a:spcBef>
              <a:spcPct val="0"/>
            </a:spcBef>
            <a:spcAft>
              <a:spcPct val="35000"/>
            </a:spcAft>
            <a:buNone/>
          </a:pPr>
          <a:r>
            <a:rPr lang="en-US" sz="3300" kern="1200"/>
            <a:t>Find a consulting service</a:t>
          </a:r>
        </a:p>
      </dsp:txBody>
      <dsp:txXfrm>
        <a:off x="3919542" y="2782640"/>
        <a:ext cx="3179752" cy="1907851"/>
      </dsp:txXfrm>
    </dsp:sp>
    <dsp:sp modelId="{E600DE75-2E7F-43D8-9A3A-233094BE11A1}">
      <dsp:nvSpPr>
        <dsp:cNvPr id="0" name=""/>
        <dsp:cNvSpPr/>
      </dsp:nvSpPr>
      <dsp:spPr>
        <a:xfrm>
          <a:off x="7830638" y="2782640"/>
          <a:ext cx="3179752" cy="1907851"/>
        </a:xfrm>
        <a:prstGeom prst="rect">
          <a:avLst/>
        </a:prstGeom>
        <a:solidFill>
          <a:schemeClr val="accent3">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466850">
            <a:lnSpc>
              <a:spcPct val="90000"/>
            </a:lnSpc>
            <a:spcBef>
              <a:spcPct val="0"/>
            </a:spcBef>
            <a:spcAft>
              <a:spcPct val="35000"/>
            </a:spcAft>
            <a:buNone/>
          </a:pPr>
          <a:r>
            <a:rPr lang="en-US" sz="3300" kern="1200"/>
            <a:t>Mark it as a favorite</a:t>
          </a:r>
        </a:p>
      </dsp:txBody>
      <dsp:txXfrm>
        <a:off x="7830638" y="2782640"/>
        <a:ext cx="3179752" cy="1907851"/>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633C143-D754-412F-A3EF-553280136D69}">
      <dsp:nvSpPr>
        <dsp:cNvPr id="0" name=""/>
        <dsp:cNvSpPr/>
      </dsp:nvSpPr>
      <dsp:spPr>
        <a:xfrm>
          <a:off x="0" y="4271075"/>
          <a:ext cx="2754709" cy="560576"/>
        </a:xfrm>
        <a:prstGeom prst="rect">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5915" tIns="135128" rIns="195915" bIns="135128" numCol="1" spcCol="1270" anchor="ctr" anchorCtr="0">
          <a:noAutofit/>
        </a:bodyPr>
        <a:lstStyle/>
        <a:p>
          <a:pPr marL="0" lvl="0" indent="0" algn="ctr" defTabSz="844550">
            <a:lnSpc>
              <a:spcPct val="90000"/>
            </a:lnSpc>
            <a:spcBef>
              <a:spcPct val="0"/>
            </a:spcBef>
            <a:spcAft>
              <a:spcPct val="35000"/>
            </a:spcAft>
            <a:buNone/>
          </a:pPr>
          <a:r>
            <a:rPr lang="en-US" sz="1900" kern="1200"/>
            <a:t>Mark</a:t>
          </a:r>
        </a:p>
      </dsp:txBody>
      <dsp:txXfrm>
        <a:off x="0" y="4271075"/>
        <a:ext cx="2754709" cy="560576"/>
      </dsp:txXfrm>
    </dsp:sp>
    <dsp:sp modelId="{444386FF-6FA2-467D-8D99-032624C0A1DF}">
      <dsp:nvSpPr>
        <dsp:cNvPr id="0" name=""/>
        <dsp:cNvSpPr/>
      </dsp:nvSpPr>
      <dsp:spPr>
        <a:xfrm>
          <a:off x="2754709" y="4271075"/>
          <a:ext cx="8264128" cy="560576"/>
        </a:xfrm>
        <a:prstGeom prst="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67636" tIns="165100" rIns="167636" bIns="165100" numCol="1" spcCol="1270" anchor="ctr" anchorCtr="0">
          <a:noAutofit/>
        </a:bodyPr>
        <a:lstStyle/>
        <a:p>
          <a:pPr marL="0" lvl="0" indent="0" algn="l" defTabSz="577850">
            <a:lnSpc>
              <a:spcPct val="90000"/>
            </a:lnSpc>
            <a:spcBef>
              <a:spcPct val="0"/>
            </a:spcBef>
            <a:spcAft>
              <a:spcPct val="35000"/>
            </a:spcAft>
            <a:buNone/>
          </a:pPr>
          <a:r>
            <a:rPr lang="en-US" sz="1300" kern="1200"/>
            <a:t>Mark it as a favorite</a:t>
          </a:r>
        </a:p>
      </dsp:txBody>
      <dsp:txXfrm>
        <a:off x="2754709" y="4271075"/>
        <a:ext cx="8264128" cy="560576"/>
      </dsp:txXfrm>
    </dsp:sp>
    <dsp:sp modelId="{F7F700F7-FFC6-47E6-B2A6-F1E2BA14F45E}">
      <dsp:nvSpPr>
        <dsp:cNvPr id="0" name=""/>
        <dsp:cNvSpPr/>
      </dsp:nvSpPr>
      <dsp:spPr>
        <a:xfrm rot="10800000">
          <a:off x="0" y="3417317"/>
          <a:ext cx="2754709" cy="862166"/>
        </a:xfrm>
        <a:prstGeom prst="upArrowCallout">
          <a:avLst>
            <a:gd name="adj1" fmla="val 5000"/>
            <a:gd name="adj2" fmla="val 10000"/>
            <a:gd name="adj3" fmla="val 15000"/>
            <a:gd name="adj4" fmla="val 64977"/>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5915" tIns="135128" rIns="195915" bIns="135128" numCol="1" spcCol="1270" anchor="ctr" anchorCtr="0">
          <a:noAutofit/>
        </a:bodyPr>
        <a:lstStyle/>
        <a:p>
          <a:pPr marL="0" lvl="0" indent="0" algn="ctr" defTabSz="844550">
            <a:lnSpc>
              <a:spcPct val="90000"/>
            </a:lnSpc>
            <a:spcBef>
              <a:spcPct val="0"/>
            </a:spcBef>
            <a:spcAft>
              <a:spcPct val="35000"/>
            </a:spcAft>
            <a:buNone/>
          </a:pPr>
          <a:r>
            <a:rPr lang="en-US" sz="1900" kern="1200"/>
            <a:t>Find</a:t>
          </a:r>
        </a:p>
      </dsp:txBody>
      <dsp:txXfrm rot="-10800000">
        <a:off x="0" y="3417317"/>
        <a:ext cx="2754709" cy="560408"/>
      </dsp:txXfrm>
    </dsp:sp>
    <dsp:sp modelId="{8BDD0526-5732-4575-875D-AA10FC8BF1EE}">
      <dsp:nvSpPr>
        <dsp:cNvPr id="0" name=""/>
        <dsp:cNvSpPr/>
      </dsp:nvSpPr>
      <dsp:spPr>
        <a:xfrm>
          <a:off x="2754709" y="3417317"/>
          <a:ext cx="8264128" cy="560408"/>
        </a:xfrm>
        <a:prstGeom prst="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67636" tIns="165100" rIns="167636" bIns="165100" numCol="1" spcCol="1270" anchor="ctr" anchorCtr="0">
          <a:noAutofit/>
        </a:bodyPr>
        <a:lstStyle/>
        <a:p>
          <a:pPr marL="0" lvl="0" indent="0" algn="l" defTabSz="577850">
            <a:lnSpc>
              <a:spcPct val="90000"/>
            </a:lnSpc>
            <a:spcBef>
              <a:spcPct val="0"/>
            </a:spcBef>
            <a:spcAft>
              <a:spcPct val="35000"/>
            </a:spcAft>
            <a:buNone/>
          </a:pPr>
          <a:r>
            <a:rPr lang="en-US" sz="1300" kern="1200"/>
            <a:t>Find a consulting service</a:t>
          </a:r>
        </a:p>
      </dsp:txBody>
      <dsp:txXfrm>
        <a:off x="2754709" y="3417317"/>
        <a:ext cx="8264128" cy="560408"/>
      </dsp:txXfrm>
    </dsp:sp>
    <dsp:sp modelId="{30A9B216-CBA0-453D-84BF-88C2301BF88B}">
      <dsp:nvSpPr>
        <dsp:cNvPr id="0" name=""/>
        <dsp:cNvSpPr/>
      </dsp:nvSpPr>
      <dsp:spPr>
        <a:xfrm rot="10800000">
          <a:off x="0" y="2563559"/>
          <a:ext cx="2754709" cy="862166"/>
        </a:xfrm>
        <a:prstGeom prst="upArrowCallout">
          <a:avLst>
            <a:gd name="adj1" fmla="val 5000"/>
            <a:gd name="adj2" fmla="val 10000"/>
            <a:gd name="adj3" fmla="val 15000"/>
            <a:gd name="adj4" fmla="val 64977"/>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5915" tIns="135128" rIns="195915" bIns="135128" numCol="1" spcCol="1270" anchor="ctr" anchorCtr="0">
          <a:noAutofit/>
        </a:bodyPr>
        <a:lstStyle/>
        <a:p>
          <a:pPr marL="0" lvl="0" indent="0" algn="ctr" defTabSz="844550">
            <a:lnSpc>
              <a:spcPct val="90000"/>
            </a:lnSpc>
            <a:spcBef>
              <a:spcPct val="0"/>
            </a:spcBef>
            <a:spcAft>
              <a:spcPct val="35000"/>
            </a:spcAft>
            <a:buNone/>
          </a:pPr>
          <a:r>
            <a:rPr lang="en-US" sz="1900" kern="1200"/>
            <a:t>Filter</a:t>
          </a:r>
        </a:p>
      </dsp:txBody>
      <dsp:txXfrm rot="-10800000">
        <a:off x="0" y="2563559"/>
        <a:ext cx="2754709" cy="560408"/>
      </dsp:txXfrm>
    </dsp:sp>
    <dsp:sp modelId="{453622B5-00E2-413A-8EA2-2896FA97222B}">
      <dsp:nvSpPr>
        <dsp:cNvPr id="0" name=""/>
        <dsp:cNvSpPr/>
      </dsp:nvSpPr>
      <dsp:spPr>
        <a:xfrm>
          <a:off x="2754709" y="2563559"/>
          <a:ext cx="8264128" cy="560408"/>
        </a:xfrm>
        <a:prstGeom prst="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67636" tIns="165100" rIns="167636" bIns="165100" numCol="1" spcCol="1270" anchor="ctr" anchorCtr="0">
          <a:noAutofit/>
        </a:bodyPr>
        <a:lstStyle/>
        <a:p>
          <a:pPr marL="0" lvl="0" indent="0" algn="l" defTabSz="577850">
            <a:lnSpc>
              <a:spcPct val="90000"/>
            </a:lnSpc>
            <a:spcBef>
              <a:spcPct val="0"/>
            </a:spcBef>
            <a:spcAft>
              <a:spcPct val="35000"/>
            </a:spcAft>
            <a:buNone/>
          </a:pPr>
          <a:r>
            <a:rPr lang="en-US" sz="1300" kern="1200"/>
            <a:t>Filter the Pricing Model to Paid</a:t>
          </a:r>
        </a:p>
      </dsp:txBody>
      <dsp:txXfrm>
        <a:off x="2754709" y="2563559"/>
        <a:ext cx="8264128" cy="560408"/>
      </dsp:txXfrm>
    </dsp:sp>
    <dsp:sp modelId="{FD6D2EDF-02A3-425F-93C7-659532CF7DC7}">
      <dsp:nvSpPr>
        <dsp:cNvPr id="0" name=""/>
        <dsp:cNvSpPr/>
      </dsp:nvSpPr>
      <dsp:spPr>
        <a:xfrm rot="10800000">
          <a:off x="0" y="1709801"/>
          <a:ext cx="2754709" cy="862166"/>
        </a:xfrm>
        <a:prstGeom prst="upArrowCallout">
          <a:avLst>
            <a:gd name="adj1" fmla="val 5000"/>
            <a:gd name="adj2" fmla="val 10000"/>
            <a:gd name="adj3" fmla="val 15000"/>
            <a:gd name="adj4" fmla="val 64977"/>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5915" tIns="135128" rIns="195915" bIns="135128" numCol="1" spcCol="1270" anchor="ctr" anchorCtr="0">
          <a:noAutofit/>
        </a:bodyPr>
        <a:lstStyle/>
        <a:p>
          <a:pPr marL="0" lvl="0" indent="0" algn="ctr" defTabSz="844550">
            <a:lnSpc>
              <a:spcPct val="90000"/>
            </a:lnSpc>
            <a:spcBef>
              <a:spcPct val="0"/>
            </a:spcBef>
            <a:spcAft>
              <a:spcPct val="35000"/>
            </a:spcAft>
            <a:buNone/>
          </a:pPr>
          <a:r>
            <a:rPr lang="en-US" sz="1900" kern="1200"/>
            <a:t>Filter</a:t>
          </a:r>
        </a:p>
      </dsp:txBody>
      <dsp:txXfrm rot="-10800000">
        <a:off x="0" y="1709801"/>
        <a:ext cx="2754709" cy="560408"/>
      </dsp:txXfrm>
    </dsp:sp>
    <dsp:sp modelId="{FBF9D00E-DCF8-49CB-B755-BCB8A54BC3C8}">
      <dsp:nvSpPr>
        <dsp:cNvPr id="0" name=""/>
        <dsp:cNvSpPr/>
      </dsp:nvSpPr>
      <dsp:spPr>
        <a:xfrm>
          <a:off x="2754709" y="1709801"/>
          <a:ext cx="8264128" cy="560408"/>
        </a:xfrm>
        <a:prstGeom prst="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67636" tIns="165100" rIns="167636" bIns="165100" numCol="1" spcCol="1270" anchor="ctr" anchorCtr="0">
          <a:noAutofit/>
        </a:bodyPr>
        <a:lstStyle/>
        <a:p>
          <a:pPr marL="0" lvl="0" indent="0" algn="l" defTabSz="577850">
            <a:lnSpc>
              <a:spcPct val="90000"/>
            </a:lnSpc>
            <a:spcBef>
              <a:spcPct val="0"/>
            </a:spcBef>
            <a:spcAft>
              <a:spcPct val="35000"/>
            </a:spcAft>
            <a:buNone/>
          </a:pPr>
          <a:r>
            <a:rPr lang="en-US" sz="1300" kern="1200"/>
            <a:t>Filter the Service Types to Workshop</a:t>
          </a:r>
        </a:p>
      </dsp:txBody>
      <dsp:txXfrm>
        <a:off x="2754709" y="1709801"/>
        <a:ext cx="8264128" cy="560408"/>
      </dsp:txXfrm>
    </dsp:sp>
    <dsp:sp modelId="{2A8833E1-3381-41E2-BAFD-62EA1AB8A370}">
      <dsp:nvSpPr>
        <dsp:cNvPr id="0" name=""/>
        <dsp:cNvSpPr/>
      </dsp:nvSpPr>
      <dsp:spPr>
        <a:xfrm rot="10800000">
          <a:off x="0" y="856044"/>
          <a:ext cx="2754709" cy="862166"/>
        </a:xfrm>
        <a:prstGeom prst="upArrowCallout">
          <a:avLst>
            <a:gd name="adj1" fmla="val 5000"/>
            <a:gd name="adj2" fmla="val 10000"/>
            <a:gd name="adj3" fmla="val 15000"/>
            <a:gd name="adj4" fmla="val 64977"/>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5915" tIns="135128" rIns="195915" bIns="135128" numCol="1" spcCol="1270" anchor="ctr" anchorCtr="0">
          <a:noAutofit/>
        </a:bodyPr>
        <a:lstStyle/>
        <a:p>
          <a:pPr marL="0" lvl="0" indent="0" algn="ctr" defTabSz="844550">
            <a:lnSpc>
              <a:spcPct val="90000"/>
            </a:lnSpc>
            <a:spcBef>
              <a:spcPct val="0"/>
            </a:spcBef>
            <a:spcAft>
              <a:spcPct val="35000"/>
            </a:spcAft>
            <a:buNone/>
          </a:pPr>
          <a:r>
            <a:rPr lang="en-US" sz="1900" kern="1200"/>
            <a:t>Use</a:t>
          </a:r>
        </a:p>
      </dsp:txBody>
      <dsp:txXfrm rot="-10800000">
        <a:off x="0" y="856044"/>
        <a:ext cx="2754709" cy="560408"/>
      </dsp:txXfrm>
    </dsp:sp>
    <dsp:sp modelId="{A91FFD47-A07C-49C0-BB13-678F7F07CCF1}">
      <dsp:nvSpPr>
        <dsp:cNvPr id="0" name=""/>
        <dsp:cNvSpPr/>
      </dsp:nvSpPr>
      <dsp:spPr>
        <a:xfrm>
          <a:off x="2754709" y="856044"/>
          <a:ext cx="8264128" cy="560408"/>
        </a:xfrm>
        <a:prstGeom prst="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67636" tIns="165100" rIns="167636" bIns="165100" numCol="1" spcCol="1270" anchor="ctr" anchorCtr="0">
          <a:noAutofit/>
        </a:bodyPr>
        <a:lstStyle/>
        <a:p>
          <a:pPr marL="0" lvl="0" indent="0" algn="l" defTabSz="577850">
            <a:lnSpc>
              <a:spcPct val="90000"/>
            </a:lnSpc>
            <a:spcBef>
              <a:spcPct val="0"/>
            </a:spcBef>
            <a:spcAft>
              <a:spcPct val="35000"/>
            </a:spcAft>
            <a:buNone/>
          </a:pPr>
          <a:r>
            <a:rPr lang="en-US" sz="1300" kern="1200"/>
            <a:t>Use the Browse apps to select Security</a:t>
          </a:r>
        </a:p>
      </dsp:txBody>
      <dsp:txXfrm>
        <a:off x="2754709" y="856044"/>
        <a:ext cx="8264128" cy="560408"/>
      </dsp:txXfrm>
    </dsp:sp>
    <dsp:sp modelId="{FE35DFC9-465D-4107-813F-71D98950F785}">
      <dsp:nvSpPr>
        <dsp:cNvPr id="0" name=""/>
        <dsp:cNvSpPr/>
      </dsp:nvSpPr>
      <dsp:spPr>
        <a:xfrm rot="10800000">
          <a:off x="0" y="2286"/>
          <a:ext cx="2754709" cy="862166"/>
        </a:xfrm>
        <a:prstGeom prst="upArrowCallout">
          <a:avLst>
            <a:gd name="adj1" fmla="val 5000"/>
            <a:gd name="adj2" fmla="val 10000"/>
            <a:gd name="adj3" fmla="val 15000"/>
            <a:gd name="adj4" fmla="val 64977"/>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5915" tIns="135128" rIns="195915" bIns="135128" numCol="1" spcCol="1270" anchor="ctr" anchorCtr="0">
          <a:noAutofit/>
        </a:bodyPr>
        <a:lstStyle/>
        <a:p>
          <a:pPr marL="0" lvl="0" indent="0" algn="ctr" defTabSz="844550">
            <a:lnSpc>
              <a:spcPct val="90000"/>
            </a:lnSpc>
            <a:spcBef>
              <a:spcPct val="0"/>
            </a:spcBef>
            <a:spcAft>
              <a:spcPct val="35000"/>
            </a:spcAft>
            <a:buNone/>
          </a:pPr>
          <a:r>
            <a:rPr lang="en-US" sz="1900" kern="1200"/>
            <a:t>Go</a:t>
          </a:r>
        </a:p>
      </dsp:txBody>
      <dsp:txXfrm rot="-10800000">
        <a:off x="0" y="2286"/>
        <a:ext cx="2754709" cy="560408"/>
      </dsp:txXfrm>
    </dsp:sp>
    <dsp:sp modelId="{1046637E-4512-4E46-B39F-F96226FD2C17}">
      <dsp:nvSpPr>
        <dsp:cNvPr id="0" name=""/>
        <dsp:cNvSpPr/>
      </dsp:nvSpPr>
      <dsp:spPr>
        <a:xfrm>
          <a:off x="2754709" y="2286"/>
          <a:ext cx="8264128" cy="560408"/>
        </a:xfrm>
        <a:prstGeom prst="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67636" tIns="165100" rIns="167636" bIns="165100" numCol="1" spcCol="1270" anchor="ctr" anchorCtr="0">
          <a:noAutofit/>
        </a:bodyPr>
        <a:lstStyle/>
        <a:p>
          <a:pPr marL="0" lvl="0" indent="0" algn="l" defTabSz="577850">
            <a:lnSpc>
              <a:spcPct val="90000"/>
            </a:lnSpc>
            <a:spcBef>
              <a:spcPct val="0"/>
            </a:spcBef>
            <a:spcAft>
              <a:spcPct val="35000"/>
            </a:spcAft>
            <a:buNone/>
          </a:pPr>
          <a:r>
            <a:rPr lang="en-US" sz="1300" kern="1200"/>
            <a:t>Go to the Azure Marketplace</a:t>
          </a:r>
        </a:p>
      </dsp:txBody>
      <dsp:txXfrm>
        <a:off x="2754709" y="2286"/>
        <a:ext cx="8264128" cy="560408"/>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A3850E2-929E-488A-9605-C1657D549A18}">
      <dsp:nvSpPr>
        <dsp:cNvPr id="0" name=""/>
        <dsp:cNvSpPr/>
      </dsp:nvSpPr>
      <dsp:spPr>
        <a:xfrm>
          <a:off x="4142" y="1086253"/>
          <a:ext cx="2491075" cy="981491"/>
        </a:xfrm>
        <a:prstGeom prst="rect">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baseline="0"/>
            <a:t>Listing (Contact Me)</a:t>
          </a:r>
          <a:endParaRPr lang="en-US" sz="1800" kern="1200"/>
        </a:p>
      </dsp:txBody>
      <dsp:txXfrm>
        <a:off x="4142" y="1086253"/>
        <a:ext cx="2491075" cy="981491"/>
      </dsp:txXfrm>
    </dsp:sp>
    <dsp:sp modelId="{AB8FACBB-E97E-41EB-8C6A-C350395CD957}">
      <dsp:nvSpPr>
        <dsp:cNvPr id="0" name=""/>
        <dsp:cNvSpPr/>
      </dsp:nvSpPr>
      <dsp:spPr>
        <a:xfrm>
          <a:off x="4142" y="2067744"/>
          <a:ext cx="2491075" cy="1679939"/>
        </a:xfrm>
        <a:prstGeom prst="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rtl="0">
            <a:lnSpc>
              <a:spcPct val="90000"/>
            </a:lnSpc>
            <a:spcBef>
              <a:spcPct val="0"/>
            </a:spcBef>
            <a:spcAft>
              <a:spcPct val="15000"/>
            </a:spcAft>
            <a:buChar char="•"/>
          </a:pPr>
          <a:r>
            <a:rPr lang="en-US" sz="1800" kern="1200" baseline="0">
              <a:latin typeface="Segoe UI Semibold"/>
            </a:rPr>
            <a:t>Link to provider CRM</a:t>
          </a:r>
        </a:p>
        <a:p>
          <a:pPr marL="171450" lvl="1" indent="-171450" algn="l" defTabSz="800100" rtl="0">
            <a:lnSpc>
              <a:spcPct val="90000"/>
            </a:lnSpc>
            <a:spcBef>
              <a:spcPct val="0"/>
            </a:spcBef>
            <a:spcAft>
              <a:spcPct val="15000"/>
            </a:spcAft>
            <a:buChar char="•"/>
          </a:pPr>
          <a:r>
            <a:rPr lang="en-US" sz="1800" kern="1200" baseline="0">
              <a:latin typeface="Segoe UI Semibold"/>
            </a:rPr>
            <a:t>Reach out to interested customers</a:t>
          </a:r>
        </a:p>
      </dsp:txBody>
      <dsp:txXfrm>
        <a:off x="4142" y="2067744"/>
        <a:ext cx="2491075" cy="1679939"/>
      </dsp:txXfrm>
    </dsp:sp>
    <dsp:sp modelId="{9A32E3FC-5173-4CF0-938C-BAE1C2FA68BD}">
      <dsp:nvSpPr>
        <dsp:cNvPr id="0" name=""/>
        <dsp:cNvSpPr/>
      </dsp:nvSpPr>
      <dsp:spPr>
        <a:xfrm>
          <a:off x="2843968" y="1086253"/>
          <a:ext cx="2491075" cy="981491"/>
        </a:xfrm>
        <a:prstGeom prst="rect">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baseline="0"/>
            <a:t>Free Trial</a:t>
          </a:r>
          <a:endParaRPr lang="en-US" sz="1800" kern="1200"/>
        </a:p>
      </dsp:txBody>
      <dsp:txXfrm>
        <a:off x="2843968" y="1086253"/>
        <a:ext cx="2491075" cy="981491"/>
      </dsp:txXfrm>
    </dsp:sp>
    <dsp:sp modelId="{3A6D7D2E-32EC-431A-9BEC-9ACDB58173E0}">
      <dsp:nvSpPr>
        <dsp:cNvPr id="0" name=""/>
        <dsp:cNvSpPr/>
      </dsp:nvSpPr>
      <dsp:spPr>
        <a:xfrm>
          <a:off x="2843968" y="2067744"/>
          <a:ext cx="2491075" cy="1679939"/>
        </a:xfrm>
        <a:prstGeom prst="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rtl="0">
            <a:lnSpc>
              <a:spcPct val="90000"/>
            </a:lnSpc>
            <a:spcBef>
              <a:spcPct val="0"/>
            </a:spcBef>
            <a:spcAft>
              <a:spcPct val="15000"/>
            </a:spcAft>
            <a:buChar char="•"/>
          </a:pPr>
          <a:r>
            <a:rPr lang="en-US" sz="1800" kern="1200" baseline="0">
              <a:latin typeface="Segoe UI Semibold"/>
            </a:rPr>
            <a:t>Try before you buy</a:t>
          </a:r>
        </a:p>
        <a:p>
          <a:pPr marL="171450" lvl="1" indent="-171450" algn="l" defTabSz="800100" rtl="0">
            <a:lnSpc>
              <a:spcPct val="90000"/>
            </a:lnSpc>
            <a:spcBef>
              <a:spcPct val="0"/>
            </a:spcBef>
            <a:spcAft>
              <a:spcPct val="15000"/>
            </a:spcAft>
            <a:buChar char="•"/>
          </a:pPr>
          <a:r>
            <a:rPr lang="en-US" sz="1800" kern="1200" baseline="0">
              <a:latin typeface="Segoe UI Semibold"/>
            </a:rPr>
            <a:t>Test drive software</a:t>
          </a:r>
        </a:p>
      </dsp:txBody>
      <dsp:txXfrm>
        <a:off x="2843968" y="2067744"/>
        <a:ext cx="2491075" cy="1679939"/>
      </dsp:txXfrm>
    </dsp:sp>
    <dsp:sp modelId="{9731D488-8C25-4065-9D60-5FDE7ACC2F20}">
      <dsp:nvSpPr>
        <dsp:cNvPr id="0" name=""/>
        <dsp:cNvSpPr/>
      </dsp:nvSpPr>
      <dsp:spPr>
        <a:xfrm>
          <a:off x="5683794" y="1086253"/>
          <a:ext cx="2491075" cy="981491"/>
        </a:xfrm>
        <a:prstGeom prst="rect">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baseline="0"/>
            <a:t>Bring Your Own License (BYOL) - Get it Now</a:t>
          </a:r>
          <a:endParaRPr lang="en-US" sz="1800" kern="1200"/>
        </a:p>
      </dsp:txBody>
      <dsp:txXfrm>
        <a:off x="5683794" y="1086253"/>
        <a:ext cx="2491075" cy="981491"/>
      </dsp:txXfrm>
    </dsp:sp>
    <dsp:sp modelId="{297D5F6F-8DDB-4106-AB89-49221CB02FB9}">
      <dsp:nvSpPr>
        <dsp:cNvPr id="0" name=""/>
        <dsp:cNvSpPr/>
      </dsp:nvSpPr>
      <dsp:spPr>
        <a:xfrm>
          <a:off x="5683794" y="2067744"/>
          <a:ext cx="2491075" cy="1679939"/>
        </a:xfrm>
        <a:prstGeom prst="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rtl="0">
            <a:lnSpc>
              <a:spcPct val="90000"/>
            </a:lnSpc>
            <a:spcBef>
              <a:spcPct val="0"/>
            </a:spcBef>
            <a:spcAft>
              <a:spcPct val="15000"/>
            </a:spcAft>
            <a:buChar char="•"/>
          </a:pPr>
          <a:r>
            <a:rPr lang="en-US" sz="1800" b="1" kern="1200" baseline="0">
              <a:latin typeface="Segoe UI Semibold"/>
            </a:rPr>
            <a:t>Use current license</a:t>
          </a:r>
        </a:p>
        <a:p>
          <a:pPr marL="171450" lvl="1" indent="-171450" algn="l" defTabSz="800100" rtl="0">
            <a:lnSpc>
              <a:spcPct val="90000"/>
            </a:lnSpc>
            <a:spcBef>
              <a:spcPct val="0"/>
            </a:spcBef>
            <a:spcAft>
              <a:spcPct val="15000"/>
            </a:spcAft>
            <a:buChar char="•"/>
          </a:pPr>
          <a:r>
            <a:rPr lang="en-US" sz="1800" b="1" kern="1200" baseline="0">
              <a:latin typeface="Segoe UI Semibold"/>
            </a:rPr>
            <a:t>Protects your existing investment in software</a:t>
          </a:r>
        </a:p>
      </dsp:txBody>
      <dsp:txXfrm>
        <a:off x="5683794" y="2067744"/>
        <a:ext cx="2491075" cy="1679939"/>
      </dsp:txXfrm>
    </dsp:sp>
    <dsp:sp modelId="{F5243D60-1C94-45AA-94F1-D458C71FB891}">
      <dsp:nvSpPr>
        <dsp:cNvPr id="0" name=""/>
        <dsp:cNvSpPr/>
      </dsp:nvSpPr>
      <dsp:spPr>
        <a:xfrm>
          <a:off x="8523619" y="1086253"/>
          <a:ext cx="2491075" cy="981491"/>
        </a:xfrm>
        <a:prstGeom prst="rect">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baseline="0"/>
            <a:t>Transaction – Get it Now</a:t>
          </a:r>
          <a:endParaRPr lang="en-US" sz="1800" kern="1200"/>
        </a:p>
      </dsp:txBody>
      <dsp:txXfrm>
        <a:off x="8523619" y="1086253"/>
        <a:ext cx="2491075" cy="981491"/>
      </dsp:txXfrm>
    </dsp:sp>
    <dsp:sp modelId="{F86356BB-9F14-4608-ADBF-E7A84CB1978C}">
      <dsp:nvSpPr>
        <dsp:cNvPr id="0" name=""/>
        <dsp:cNvSpPr/>
      </dsp:nvSpPr>
      <dsp:spPr>
        <a:xfrm>
          <a:off x="8523619" y="2067744"/>
          <a:ext cx="2491075" cy="1679939"/>
        </a:xfrm>
        <a:prstGeom prst="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baseline="0"/>
            <a:t>Bill to Microsoft account</a:t>
          </a:r>
          <a:endParaRPr lang="en-US" sz="1800" kern="1200"/>
        </a:p>
        <a:p>
          <a:pPr marL="171450" lvl="1" indent="-171450" algn="l" defTabSz="800100">
            <a:lnSpc>
              <a:spcPct val="90000"/>
            </a:lnSpc>
            <a:spcBef>
              <a:spcPct val="0"/>
            </a:spcBef>
            <a:spcAft>
              <a:spcPct val="15000"/>
            </a:spcAft>
            <a:buChar char="•"/>
          </a:pPr>
          <a:r>
            <a:rPr lang="en-US" sz="1800" kern="1200" baseline="0"/>
            <a:t>Process with credit card</a:t>
          </a:r>
          <a:endParaRPr lang="en-US" sz="1800" kern="1200"/>
        </a:p>
      </dsp:txBody>
      <dsp:txXfrm>
        <a:off x="8523619" y="2067744"/>
        <a:ext cx="2491075" cy="1679939"/>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53E2DF-10CD-4B56-B1B1-0E8C9D02D5DD}">
      <dsp:nvSpPr>
        <dsp:cNvPr id="0" name=""/>
        <dsp:cNvSpPr/>
      </dsp:nvSpPr>
      <dsp:spPr>
        <a:xfrm>
          <a:off x="0" y="1269460"/>
          <a:ext cx="3099048" cy="1967895"/>
        </a:xfrm>
        <a:prstGeom prst="roundRect">
          <a:avLst>
            <a:gd name="adj" fmla="val 10000"/>
          </a:avLst>
        </a:prstGeom>
        <a:solidFill>
          <a:schemeClr val="accent2">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sp>
    <dsp:sp modelId="{520F1F58-5C78-4603-B44B-6A0E5D94270A}">
      <dsp:nvSpPr>
        <dsp:cNvPr id="0" name=""/>
        <dsp:cNvSpPr/>
      </dsp:nvSpPr>
      <dsp:spPr>
        <a:xfrm>
          <a:off x="344338" y="1596582"/>
          <a:ext cx="3099048" cy="1967895"/>
        </a:xfrm>
        <a:prstGeom prst="roundRect">
          <a:avLst>
            <a:gd name="adj" fmla="val 10000"/>
          </a:avLst>
        </a:prstGeom>
        <a:solidFill>
          <a:schemeClr val="lt1">
            <a:alpha val="90000"/>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9540" tIns="129540" rIns="129540" bIns="129540" numCol="1" spcCol="1270" anchor="ctr" anchorCtr="0">
          <a:noAutofit/>
        </a:bodyPr>
        <a:lstStyle/>
        <a:p>
          <a:pPr marL="0" lvl="0" indent="0" algn="ctr" defTabSz="1511300">
            <a:lnSpc>
              <a:spcPct val="90000"/>
            </a:lnSpc>
            <a:spcBef>
              <a:spcPct val="0"/>
            </a:spcBef>
            <a:spcAft>
              <a:spcPct val="35000"/>
            </a:spcAft>
            <a:buNone/>
          </a:pPr>
          <a:r>
            <a:rPr lang="en-US" sz="3400" kern="1200" baseline="0"/>
            <a:t>Free trials</a:t>
          </a:r>
          <a:endParaRPr lang="en-US" sz="3400" kern="1200"/>
        </a:p>
      </dsp:txBody>
      <dsp:txXfrm>
        <a:off x="401976" y="1654220"/>
        <a:ext cx="2983772" cy="1852619"/>
      </dsp:txXfrm>
    </dsp:sp>
    <dsp:sp modelId="{25AEA7F3-275E-473E-94C5-443663F42157}">
      <dsp:nvSpPr>
        <dsp:cNvPr id="0" name=""/>
        <dsp:cNvSpPr/>
      </dsp:nvSpPr>
      <dsp:spPr>
        <a:xfrm>
          <a:off x="3787725" y="1269460"/>
          <a:ext cx="3099048" cy="1967895"/>
        </a:xfrm>
        <a:prstGeom prst="roundRect">
          <a:avLst>
            <a:gd name="adj" fmla="val 10000"/>
          </a:avLst>
        </a:prstGeom>
        <a:solidFill>
          <a:schemeClr val="accent2">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sp>
    <dsp:sp modelId="{12E62845-3680-402A-9E2A-956F9FE097D0}">
      <dsp:nvSpPr>
        <dsp:cNvPr id="0" name=""/>
        <dsp:cNvSpPr/>
      </dsp:nvSpPr>
      <dsp:spPr>
        <a:xfrm>
          <a:off x="4132064" y="1596582"/>
          <a:ext cx="3099048" cy="1967895"/>
        </a:xfrm>
        <a:prstGeom prst="roundRect">
          <a:avLst>
            <a:gd name="adj" fmla="val 10000"/>
          </a:avLst>
        </a:prstGeom>
        <a:solidFill>
          <a:schemeClr val="lt1">
            <a:alpha val="90000"/>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9540" tIns="129540" rIns="129540" bIns="129540" numCol="1" spcCol="1270" anchor="ctr" anchorCtr="0">
          <a:noAutofit/>
        </a:bodyPr>
        <a:lstStyle/>
        <a:p>
          <a:pPr marL="0" lvl="0" indent="0" algn="ctr" defTabSz="1511300">
            <a:lnSpc>
              <a:spcPct val="90000"/>
            </a:lnSpc>
            <a:spcBef>
              <a:spcPct val="0"/>
            </a:spcBef>
            <a:spcAft>
              <a:spcPct val="35000"/>
            </a:spcAft>
            <a:buNone/>
          </a:pPr>
          <a:r>
            <a:rPr lang="en-US" sz="3400" kern="1200" baseline="0"/>
            <a:t>Plan and pricing options</a:t>
          </a:r>
          <a:endParaRPr lang="en-US" sz="3400" kern="1200"/>
        </a:p>
      </dsp:txBody>
      <dsp:txXfrm>
        <a:off x="4189702" y="1654220"/>
        <a:ext cx="2983772" cy="1852619"/>
      </dsp:txXfrm>
    </dsp:sp>
    <dsp:sp modelId="{8AB241AB-1ECD-4E28-9CC4-37A1F6ADECF0}">
      <dsp:nvSpPr>
        <dsp:cNvPr id="0" name=""/>
        <dsp:cNvSpPr/>
      </dsp:nvSpPr>
      <dsp:spPr>
        <a:xfrm>
          <a:off x="7575451" y="1269460"/>
          <a:ext cx="3099048" cy="1967895"/>
        </a:xfrm>
        <a:prstGeom prst="roundRect">
          <a:avLst>
            <a:gd name="adj" fmla="val 10000"/>
          </a:avLst>
        </a:prstGeom>
        <a:solidFill>
          <a:schemeClr val="accent2">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sp>
    <dsp:sp modelId="{960C2012-83CF-4D40-B80C-83648AE03CF9}">
      <dsp:nvSpPr>
        <dsp:cNvPr id="0" name=""/>
        <dsp:cNvSpPr/>
      </dsp:nvSpPr>
      <dsp:spPr>
        <a:xfrm>
          <a:off x="7919789" y="1596582"/>
          <a:ext cx="3099048" cy="1967895"/>
        </a:xfrm>
        <a:prstGeom prst="roundRect">
          <a:avLst>
            <a:gd name="adj" fmla="val 10000"/>
          </a:avLst>
        </a:prstGeom>
        <a:solidFill>
          <a:schemeClr val="lt1">
            <a:alpha val="90000"/>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9540" tIns="129540" rIns="129540" bIns="129540" numCol="1" spcCol="1270" anchor="ctr" anchorCtr="0">
          <a:noAutofit/>
        </a:bodyPr>
        <a:lstStyle/>
        <a:p>
          <a:pPr marL="0" lvl="0" indent="0" algn="ctr" defTabSz="1511300">
            <a:lnSpc>
              <a:spcPct val="90000"/>
            </a:lnSpc>
            <a:spcBef>
              <a:spcPct val="0"/>
            </a:spcBef>
            <a:spcAft>
              <a:spcPct val="35000"/>
            </a:spcAft>
            <a:buNone/>
          </a:pPr>
          <a:r>
            <a:rPr lang="en-US" sz="3400" kern="1200" baseline="0"/>
            <a:t>Selling through Microsoft</a:t>
          </a:r>
          <a:endParaRPr lang="en-US" sz="3400" kern="1200"/>
        </a:p>
      </dsp:txBody>
      <dsp:txXfrm>
        <a:off x="7977427" y="1654220"/>
        <a:ext cx="2983772" cy="1852619"/>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F45B1B-64AE-4F65-AA0D-DA3B7BE4303F}">
      <dsp:nvSpPr>
        <dsp:cNvPr id="0" name=""/>
        <dsp:cNvSpPr/>
      </dsp:nvSpPr>
      <dsp:spPr>
        <a:xfrm rot="5400000">
          <a:off x="6869685" y="-2744761"/>
          <a:ext cx="1246249" cy="7052056"/>
        </a:xfrm>
        <a:prstGeom prst="round2Same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53340" rIns="106680" bIns="53340" numCol="1" spcCol="1270" anchor="ctr" anchorCtr="0">
          <a:noAutofit/>
        </a:bodyPr>
        <a:lstStyle/>
        <a:p>
          <a:pPr marL="285750" lvl="1" indent="-285750" algn="l" defTabSz="1244600">
            <a:lnSpc>
              <a:spcPct val="90000"/>
            </a:lnSpc>
            <a:spcBef>
              <a:spcPct val="0"/>
            </a:spcBef>
            <a:spcAft>
              <a:spcPct val="15000"/>
            </a:spcAft>
            <a:buChar char="•"/>
          </a:pPr>
          <a:r>
            <a:rPr lang="en-US" sz="2800" kern="1200" baseline="0"/>
            <a:t>Have an Azure subscription</a:t>
          </a:r>
          <a:endParaRPr lang="en-US" sz="2800" kern="1200"/>
        </a:p>
        <a:p>
          <a:pPr marL="285750" lvl="1" indent="-285750" algn="l" defTabSz="1244600">
            <a:lnSpc>
              <a:spcPct val="90000"/>
            </a:lnSpc>
            <a:spcBef>
              <a:spcPct val="0"/>
            </a:spcBef>
            <a:spcAft>
              <a:spcPct val="15000"/>
            </a:spcAft>
            <a:buChar char="•"/>
          </a:pPr>
          <a:r>
            <a:rPr lang="en-US" sz="2800" kern="1200" baseline="0" dirty="0"/>
            <a:t>Have correct role assignment to purchase</a:t>
          </a:r>
          <a:endParaRPr lang="en-US" sz="2800" kern="1200" dirty="0"/>
        </a:p>
      </dsp:txBody>
      <dsp:txXfrm rot="-5400000">
        <a:off x="3966782" y="218979"/>
        <a:ext cx="6991219" cy="1124575"/>
      </dsp:txXfrm>
    </dsp:sp>
    <dsp:sp modelId="{63766B92-2A1A-4C0A-9D6C-7032EDF3A39C}">
      <dsp:nvSpPr>
        <dsp:cNvPr id="0" name=""/>
        <dsp:cNvSpPr/>
      </dsp:nvSpPr>
      <dsp:spPr>
        <a:xfrm>
          <a:off x="0" y="2360"/>
          <a:ext cx="3966781" cy="1557812"/>
        </a:xfrm>
        <a:prstGeom prst="roundRect">
          <a:avLst/>
        </a:prstGeom>
        <a:solidFill>
          <a:schemeClr val="accent2">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56210" tIns="78105" rIns="156210" bIns="78105" numCol="1" spcCol="1270" anchor="ctr" anchorCtr="0">
          <a:noAutofit/>
        </a:bodyPr>
        <a:lstStyle/>
        <a:p>
          <a:pPr marL="0" lvl="0" indent="0" algn="ctr" defTabSz="1822450">
            <a:lnSpc>
              <a:spcPct val="90000"/>
            </a:lnSpc>
            <a:spcBef>
              <a:spcPct val="0"/>
            </a:spcBef>
            <a:spcAft>
              <a:spcPct val="35000"/>
            </a:spcAft>
            <a:buNone/>
          </a:pPr>
          <a:r>
            <a:rPr lang="en-US" sz="4100" kern="1200" baseline="0"/>
            <a:t>Requirements</a:t>
          </a:r>
          <a:endParaRPr lang="en-US" sz="4100" kern="1200"/>
        </a:p>
      </dsp:txBody>
      <dsp:txXfrm>
        <a:off x="76046" y="78406"/>
        <a:ext cx="3814689" cy="1405720"/>
      </dsp:txXfrm>
    </dsp:sp>
    <dsp:sp modelId="{0B85CB58-2C90-4CAF-A880-90BFD8247626}">
      <dsp:nvSpPr>
        <dsp:cNvPr id="0" name=""/>
        <dsp:cNvSpPr/>
      </dsp:nvSpPr>
      <dsp:spPr>
        <a:xfrm rot="5400000">
          <a:off x="6869685" y="-1109059"/>
          <a:ext cx="1246249" cy="7052056"/>
        </a:xfrm>
        <a:prstGeom prst="round2Same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53340" rIns="106680" bIns="53340" numCol="1" spcCol="1270" anchor="ctr" anchorCtr="0">
          <a:noAutofit/>
        </a:bodyPr>
        <a:lstStyle/>
        <a:p>
          <a:pPr marL="285750" lvl="1" indent="-285750" algn="l" defTabSz="1244600">
            <a:lnSpc>
              <a:spcPct val="90000"/>
            </a:lnSpc>
            <a:spcBef>
              <a:spcPct val="0"/>
            </a:spcBef>
            <a:spcAft>
              <a:spcPct val="15000"/>
            </a:spcAft>
            <a:buChar char="•"/>
          </a:pPr>
          <a:r>
            <a:rPr lang="en-US" sz="2800" kern="1200" baseline="0"/>
            <a:t>Solution template (ARM template)</a:t>
          </a:r>
          <a:endParaRPr lang="en-US" sz="2800" kern="1200"/>
        </a:p>
        <a:p>
          <a:pPr marL="285750" lvl="1" indent="-285750" algn="l" defTabSz="1244600">
            <a:lnSpc>
              <a:spcPct val="90000"/>
            </a:lnSpc>
            <a:spcBef>
              <a:spcPct val="0"/>
            </a:spcBef>
            <a:spcAft>
              <a:spcPct val="15000"/>
            </a:spcAft>
            <a:buChar char="•"/>
          </a:pPr>
          <a:r>
            <a:rPr lang="en-US" sz="2800" kern="1200" baseline="0"/>
            <a:t>Managed application</a:t>
          </a:r>
          <a:endParaRPr lang="en-US" sz="2800" kern="1200"/>
        </a:p>
      </dsp:txBody>
      <dsp:txXfrm rot="-5400000">
        <a:off x="3966782" y="1854681"/>
        <a:ext cx="6991219" cy="1124575"/>
      </dsp:txXfrm>
    </dsp:sp>
    <dsp:sp modelId="{AAD31C3D-7ADE-4C83-B6FB-6BC8823CD1B1}">
      <dsp:nvSpPr>
        <dsp:cNvPr id="0" name=""/>
        <dsp:cNvSpPr/>
      </dsp:nvSpPr>
      <dsp:spPr>
        <a:xfrm>
          <a:off x="0" y="1638062"/>
          <a:ext cx="3966781" cy="1557812"/>
        </a:xfrm>
        <a:prstGeom prst="roundRect">
          <a:avLst/>
        </a:prstGeom>
        <a:solidFill>
          <a:schemeClr val="accent2">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56210" tIns="78105" rIns="156210" bIns="78105" numCol="1" spcCol="1270" anchor="ctr" anchorCtr="0">
          <a:noAutofit/>
        </a:bodyPr>
        <a:lstStyle/>
        <a:p>
          <a:pPr marL="0" lvl="0" indent="0" algn="ctr" defTabSz="1822450">
            <a:lnSpc>
              <a:spcPct val="90000"/>
            </a:lnSpc>
            <a:spcBef>
              <a:spcPct val="0"/>
            </a:spcBef>
            <a:spcAft>
              <a:spcPct val="35000"/>
            </a:spcAft>
            <a:buNone/>
          </a:pPr>
          <a:r>
            <a:rPr lang="en-US" sz="4100" kern="1200" baseline="0"/>
            <a:t>Types of plans</a:t>
          </a:r>
          <a:endParaRPr lang="en-US" sz="4100" kern="1200"/>
        </a:p>
      </dsp:txBody>
      <dsp:txXfrm>
        <a:off x="76046" y="1714108"/>
        <a:ext cx="3814689" cy="1405720"/>
      </dsp:txXfrm>
    </dsp:sp>
    <dsp:sp modelId="{6E1ED42A-E1BD-4DF7-9A17-C2EB1B25E5A9}">
      <dsp:nvSpPr>
        <dsp:cNvPr id="0" name=""/>
        <dsp:cNvSpPr/>
      </dsp:nvSpPr>
      <dsp:spPr>
        <a:xfrm rot="5400000">
          <a:off x="6869685" y="526643"/>
          <a:ext cx="1246249" cy="7052056"/>
        </a:xfrm>
        <a:prstGeom prst="round2Same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53340" rIns="106680" bIns="53340" numCol="1" spcCol="1270" anchor="ctr" anchorCtr="0">
          <a:noAutofit/>
        </a:bodyPr>
        <a:lstStyle/>
        <a:p>
          <a:pPr marL="285750" lvl="1" indent="-285750" algn="l" defTabSz="1244600">
            <a:lnSpc>
              <a:spcPct val="90000"/>
            </a:lnSpc>
            <a:spcBef>
              <a:spcPct val="0"/>
            </a:spcBef>
            <a:spcAft>
              <a:spcPct val="15000"/>
            </a:spcAft>
            <a:buChar char="•"/>
          </a:pPr>
          <a:r>
            <a:rPr lang="en-US" sz="2800" kern="1200" baseline="0">
              <a:hlinkClick xmlns:r="http://schemas.openxmlformats.org/officeDocument/2006/relationships" r:id="rId1"/>
            </a:rPr>
            <a:t>https://portal.azure.com</a:t>
          </a:r>
          <a:r>
            <a:rPr lang="en-US" sz="2800" kern="1200" baseline="0"/>
            <a:t> </a:t>
          </a:r>
          <a:endParaRPr lang="en-US" sz="2800" kern="1200"/>
        </a:p>
      </dsp:txBody>
      <dsp:txXfrm rot="-5400000">
        <a:off x="3966782" y="3490384"/>
        <a:ext cx="6991219" cy="1124575"/>
      </dsp:txXfrm>
    </dsp:sp>
    <dsp:sp modelId="{2553AE57-7F9B-4AEC-B14F-8816CD63B2A4}">
      <dsp:nvSpPr>
        <dsp:cNvPr id="0" name=""/>
        <dsp:cNvSpPr/>
      </dsp:nvSpPr>
      <dsp:spPr>
        <a:xfrm>
          <a:off x="0" y="3273765"/>
          <a:ext cx="3966781" cy="1557812"/>
        </a:xfrm>
        <a:prstGeom prst="roundRect">
          <a:avLst/>
        </a:prstGeom>
        <a:solidFill>
          <a:schemeClr val="accent2">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56210" tIns="78105" rIns="156210" bIns="78105" numCol="1" spcCol="1270" anchor="ctr" anchorCtr="0">
          <a:noAutofit/>
        </a:bodyPr>
        <a:lstStyle/>
        <a:p>
          <a:pPr marL="0" lvl="0" indent="0" algn="ctr" defTabSz="1822450">
            <a:lnSpc>
              <a:spcPct val="90000"/>
            </a:lnSpc>
            <a:spcBef>
              <a:spcPct val="0"/>
            </a:spcBef>
            <a:spcAft>
              <a:spcPct val="35000"/>
            </a:spcAft>
            <a:buNone/>
          </a:pPr>
          <a:r>
            <a:rPr lang="en-US" sz="4100" kern="1200" baseline="0"/>
            <a:t>Steps to purchase</a:t>
          </a:r>
          <a:endParaRPr lang="en-US" sz="4100" kern="1200"/>
        </a:p>
      </dsp:txBody>
      <dsp:txXfrm>
        <a:off x="76046" y="3349811"/>
        <a:ext cx="3814689" cy="1405720"/>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4CC4ACC-2BFC-49E4-9A40-C9A80A9F2728}">
      <dsp:nvSpPr>
        <dsp:cNvPr id="0" name=""/>
        <dsp:cNvSpPr/>
      </dsp:nvSpPr>
      <dsp:spPr>
        <a:xfrm rot="5400000">
          <a:off x="6869685" y="-2744761"/>
          <a:ext cx="1246249" cy="7052056"/>
        </a:xfrm>
        <a:prstGeom prst="round2Same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22860" rIns="45720" bIns="22860" numCol="1" spcCol="1270" anchor="ctr" anchorCtr="0">
          <a:noAutofit/>
        </a:bodyPr>
        <a:lstStyle/>
        <a:p>
          <a:pPr marL="114300" lvl="1" indent="-114300" algn="l" defTabSz="533400">
            <a:lnSpc>
              <a:spcPct val="90000"/>
            </a:lnSpc>
            <a:spcBef>
              <a:spcPct val="0"/>
            </a:spcBef>
            <a:spcAft>
              <a:spcPct val="15000"/>
            </a:spcAft>
            <a:buChar char="•"/>
          </a:pPr>
          <a:r>
            <a:rPr lang="en-US" sz="1200" kern="1200"/>
            <a:t>Have an Azure subscription</a:t>
          </a:r>
        </a:p>
        <a:p>
          <a:pPr marL="114300" lvl="1" indent="-114300" algn="l" defTabSz="533400">
            <a:lnSpc>
              <a:spcPct val="90000"/>
            </a:lnSpc>
            <a:spcBef>
              <a:spcPct val="0"/>
            </a:spcBef>
            <a:spcAft>
              <a:spcPct val="15000"/>
            </a:spcAft>
            <a:buChar char="•"/>
          </a:pPr>
          <a:r>
            <a:rPr lang="en-US" sz="1200" kern="1200" dirty="0"/>
            <a:t>Have permission to purchase from Marketplace</a:t>
          </a:r>
        </a:p>
      </dsp:txBody>
      <dsp:txXfrm rot="-5400000">
        <a:off x="3966782" y="218979"/>
        <a:ext cx="6991219" cy="1124575"/>
      </dsp:txXfrm>
    </dsp:sp>
    <dsp:sp modelId="{C29DC169-38AE-4F26-AC96-DDE36686F37D}">
      <dsp:nvSpPr>
        <dsp:cNvPr id="0" name=""/>
        <dsp:cNvSpPr/>
      </dsp:nvSpPr>
      <dsp:spPr>
        <a:xfrm>
          <a:off x="0" y="2360"/>
          <a:ext cx="3966781" cy="1557812"/>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6210" tIns="78105" rIns="156210" bIns="78105" numCol="1" spcCol="1270" anchor="ctr" anchorCtr="0">
          <a:noAutofit/>
        </a:bodyPr>
        <a:lstStyle/>
        <a:p>
          <a:pPr marL="0" lvl="0" indent="0" algn="ctr" defTabSz="1822450">
            <a:lnSpc>
              <a:spcPct val="90000"/>
            </a:lnSpc>
            <a:spcBef>
              <a:spcPct val="0"/>
            </a:spcBef>
            <a:spcAft>
              <a:spcPct val="35000"/>
            </a:spcAft>
            <a:buNone/>
          </a:pPr>
          <a:r>
            <a:rPr lang="en-US" sz="4100" kern="1200"/>
            <a:t>Requirements</a:t>
          </a:r>
        </a:p>
      </dsp:txBody>
      <dsp:txXfrm>
        <a:off x="76046" y="78406"/>
        <a:ext cx="3814689" cy="1405720"/>
      </dsp:txXfrm>
    </dsp:sp>
    <dsp:sp modelId="{B047D45A-07A4-47C2-A3E4-56F64694BBF7}">
      <dsp:nvSpPr>
        <dsp:cNvPr id="0" name=""/>
        <dsp:cNvSpPr/>
      </dsp:nvSpPr>
      <dsp:spPr>
        <a:xfrm rot="5400000">
          <a:off x="6869685" y="-1109059"/>
          <a:ext cx="1246249" cy="7052056"/>
        </a:xfrm>
        <a:prstGeom prst="round2Same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22860" rIns="45720" bIns="22860" numCol="1" spcCol="1270" anchor="ctr" anchorCtr="0">
          <a:noAutofit/>
        </a:bodyPr>
        <a:lstStyle/>
        <a:p>
          <a:pPr marL="114300" lvl="1" indent="-114300" algn="l" defTabSz="533400">
            <a:lnSpc>
              <a:spcPct val="90000"/>
            </a:lnSpc>
            <a:spcBef>
              <a:spcPct val="0"/>
            </a:spcBef>
            <a:spcAft>
              <a:spcPct val="15000"/>
            </a:spcAft>
            <a:buChar char="•"/>
          </a:pPr>
          <a:r>
            <a:rPr lang="en-US" sz="1200" kern="1200"/>
            <a:t>Size of VM – vCores, RAM, drive space</a:t>
          </a:r>
        </a:p>
        <a:p>
          <a:pPr marL="114300" lvl="1" indent="-114300" algn="l" defTabSz="533400">
            <a:lnSpc>
              <a:spcPct val="90000"/>
            </a:lnSpc>
            <a:spcBef>
              <a:spcPct val="0"/>
            </a:spcBef>
            <a:spcAft>
              <a:spcPct val="15000"/>
            </a:spcAft>
            <a:buChar char="•"/>
          </a:pPr>
          <a:r>
            <a:rPr lang="en-US" sz="1200" kern="1200"/>
            <a:t>Operating systems</a:t>
          </a:r>
        </a:p>
        <a:p>
          <a:pPr marL="228600" lvl="2" indent="-114300" algn="l" defTabSz="533400">
            <a:lnSpc>
              <a:spcPct val="90000"/>
            </a:lnSpc>
            <a:spcBef>
              <a:spcPct val="0"/>
            </a:spcBef>
            <a:spcAft>
              <a:spcPct val="15000"/>
            </a:spcAft>
            <a:buChar char="•"/>
          </a:pPr>
          <a:r>
            <a:rPr lang="en-US" sz="1200" kern="1200"/>
            <a:t>Windows Server</a:t>
          </a:r>
        </a:p>
        <a:p>
          <a:pPr marL="228600" lvl="2" indent="-114300" algn="l" defTabSz="533400">
            <a:lnSpc>
              <a:spcPct val="90000"/>
            </a:lnSpc>
            <a:spcBef>
              <a:spcPct val="0"/>
            </a:spcBef>
            <a:spcAft>
              <a:spcPct val="15000"/>
            </a:spcAft>
            <a:buChar char="•"/>
          </a:pPr>
          <a:r>
            <a:rPr lang="en-US" sz="1200" kern="1200"/>
            <a:t>Windows Client</a:t>
          </a:r>
        </a:p>
        <a:p>
          <a:pPr marL="228600" lvl="2" indent="-114300" algn="l" defTabSz="533400">
            <a:lnSpc>
              <a:spcPct val="90000"/>
            </a:lnSpc>
            <a:spcBef>
              <a:spcPct val="0"/>
            </a:spcBef>
            <a:spcAft>
              <a:spcPct val="15000"/>
            </a:spcAft>
            <a:buChar char="•"/>
          </a:pPr>
          <a:r>
            <a:rPr lang="en-US" sz="1200" kern="1200"/>
            <a:t>Linux distributions</a:t>
          </a:r>
        </a:p>
      </dsp:txBody>
      <dsp:txXfrm rot="-5400000">
        <a:off x="3966782" y="1854681"/>
        <a:ext cx="6991219" cy="1124575"/>
      </dsp:txXfrm>
    </dsp:sp>
    <dsp:sp modelId="{74247D1F-5644-4C65-964E-6973B989476C}">
      <dsp:nvSpPr>
        <dsp:cNvPr id="0" name=""/>
        <dsp:cNvSpPr/>
      </dsp:nvSpPr>
      <dsp:spPr>
        <a:xfrm>
          <a:off x="0" y="1638062"/>
          <a:ext cx="3966781" cy="1557812"/>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6210" tIns="78105" rIns="156210" bIns="78105" numCol="1" spcCol="1270" anchor="ctr" anchorCtr="0">
          <a:noAutofit/>
        </a:bodyPr>
        <a:lstStyle/>
        <a:p>
          <a:pPr marL="0" lvl="0" indent="0" algn="ctr" defTabSz="1822450">
            <a:lnSpc>
              <a:spcPct val="90000"/>
            </a:lnSpc>
            <a:spcBef>
              <a:spcPct val="0"/>
            </a:spcBef>
            <a:spcAft>
              <a:spcPct val="35000"/>
            </a:spcAft>
            <a:buNone/>
          </a:pPr>
          <a:r>
            <a:rPr lang="en-US" sz="4100" kern="1200"/>
            <a:t>Images have different costs</a:t>
          </a:r>
        </a:p>
      </dsp:txBody>
      <dsp:txXfrm>
        <a:off x="76046" y="1714108"/>
        <a:ext cx="3814689" cy="1405720"/>
      </dsp:txXfrm>
    </dsp:sp>
    <dsp:sp modelId="{4FA615A1-1FE4-46D7-AF66-5EAB68127F7C}">
      <dsp:nvSpPr>
        <dsp:cNvPr id="0" name=""/>
        <dsp:cNvSpPr/>
      </dsp:nvSpPr>
      <dsp:spPr>
        <a:xfrm rot="5400000">
          <a:off x="6869685" y="526643"/>
          <a:ext cx="1246249" cy="7052056"/>
        </a:xfrm>
        <a:prstGeom prst="round2Same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22860" rIns="45720" bIns="22860" numCol="1" spcCol="1270" anchor="ctr" anchorCtr="0">
          <a:noAutofit/>
        </a:bodyPr>
        <a:lstStyle/>
        <a:p>
          <a:pPr marL="114300" lvl="1" indent="-114300" algn="l" defTabSz="533400">
            <a:lnSpc>
              <a:spcPct val="90000"/>
            </a:lnSpc>
            <a:spcBef>
              <a:spcPct val="0"/>
            </a:spcBef>
            <a:spcAft>
              <a:spcPct val="15000"/>
            </a:spcAft>
            <a:buChar char="•"/>
          </a:pPr>
          <a:r>
            <a:rPr lang="en-US" sz="1200" kern="1200">
              <a:hlinkClick xmlns:r="http://schemas.openxmlformats.org/officeDocument/2006/relationships" r:id="rId1"/>
            </a:rPr>
            <a:t>https://portal.azure.com</a:t>
          </a:r>
          <a:r>
            <a:rPr lang="en-US" sz="1200" kern="1200"/>
            <a:t> </a:t>
          </a:r>
        </a:p>
      </dsp:txBody>
      <dsp:txXfrm rot="-5400000">
        <a:off x="3966782" y="3490384"/>
        <a:ext cx="6991219" cy="1124575"/>
      </dsp:txXfrm>
    </dsp:sp>
    <dsp:sp modelId="{01B08FE3-A3C7-4EB1-A956-022014E84DD1}">
      <dsp:nvSpPr>
        <dsp:cNvPr id="0" name=""/>
        <dsp:cNvSpPr/>
      </dsp:nvSpPr>
      <dsp:spPr>
        <a:xfrm>
          <a:off x="0" y="3273765"/>
          <a:ext cx="3966781" cy="1557812"/>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6210" tIns="78105" rIns="156210" bIns="78105" numCol="1" spcCol="1270" anchor="ctr" anchorCtr="0">
          <a:noAutofit/>
        </a:bodyPr>
        <a:lstStyle/>
        <a:p>
          <a:pPr marL="0" lvl="0" indent="0" algn="ctr" defTabSz="1822450">
            <a:lnSpc>
              <a:spcPct val="90000"/>
            </a:lnSpc>
            <a:spcBef>
              <a:spcPct val="0"/>
            </a:spcBef>
            <a:spcAft>
              <a:spcPct val="35000"/>
            </a:spcAft>
            <a:buNone/>
          </a:pPr>
          <a:r>
            <a:rPr lang="en-US" sz="4100" kern="1200"/>
            <a:t>Steps to purchase</a:t>
          </a:r>
        </a:p>
      </dsp:txBody>
      <dsp:txXfrm>
        <a:off x="76046" y="3349811"/>
        <a:ext cx="3814689" cy="1405720"/>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3.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4.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15.xml><?xml version="1.0" encoding="utf-8"?>
<dgm:layoutDef xmlns:dgm="http://schemas.openxmlformats.org/drawingml/2006/diagram" xmlns:a="http://schemas.openxmlformats.org/drawingml/2006/main" uniqueId="urn:microsoft.com/office/officeart/2018/5/layout/IconCircleLabelList">
  <dgm:title val="Icon Circle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4"/>
          <dgm:constr type="h" for="des" forName="compNode" op="equ"/>
          <dgm:constr type="h" for="des" forName="textRect" op="equ"/>
        </dgm:constrLst>
      </dgm:if>
      <dgm:if name="Name5" axis="ch" ptType="node" func="cnt" op="lte" val="3">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0"/>
          <dgm:constr type="h" for="des" forName="compNode" op="equ"/>
          <dgm:constr type="h" for="des" forName="textRect" op="equ"/>
        </dgm:constrLst>
      </dgm:if>
      <dgm:if name="Name6"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2"/>
          <dgm:constr type="h" for="des" forName="compNode" op="equ"/>
          <dgm:constr type="h" for="des" forName="textRect" op="equ"/>
        </dgm:constrLst>
      </dgm:if>
      <dgm:else name="Name7">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8" axis="ch" ptType="node">
      <dgm:layoutNode name="compNode">
        <dgm:alg type="composite"/>
        <dgm:shape xmlns:r="http://schemas.openxmlformats.org/officeDocument/2006/relationships" r:blip="">
          <dgm:adjLst/>
        </dgm:shape>
        <dgm:presOf axis="self"/>
        <dgm:constrLst>
          <dgm:constr type="w" for="ch" forName="iconBgRect" refType="w" fact="0.61"/>
          <dgm:constr type="h" for="ch" forName="iconBgRect" refType="w" refFor="ch" refForName="iconBgRect"/>
          <dgm:constr type="t" for="ch" forName="iconBgRect"/>
          <dgm:constr type="ctrX" for="ch" forName="iconBgRect" refType="w" fact="0.5"/>
          <dgm:constr type="w" for="ch" forName="iconRect" refType="w" fact="0.35"/>
          <dgm:constr type="h" for="ch" forName="iconRect" refType="w" refFor="ch" refForName="iconRect"/>
          <dgm:constr type="ctrX" for="ch" forName="iconRect" refType="ctrX" refFor="ch" refForName="iconBgRect"/>
          <dgm:constr type="ctrY" for="ch" forName="iconRect" refType="ctrY" refFor="ch" refForName="iconBgRect"/>
          <dgm:constr type="h" for="ch" forName="spaceRect" refType="w" fact="0.19"/>
          <dgm:constr type="w" for="ch" forName="spaceRect" refType="w"/>
          <dgm:constr type="l" for="ch" forName="spaceRect"/>
          <dgm:constr type="t" for="ch" forName="spaceRect" refType="b" refFor="ch" refForName="iconBg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9"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cap="all"/>
        </a:lvl1pPr>
      </dgm1612:lstStyle>
    </a:ext>
  </dgm:extLst>
</dgm:layoutDef>
</file>

<file path=ppt/diagrams/layout16.xml><?xml version="1.0" encoding="utf-8"?>
<dgm:layoutDef xmlns:dgm="http://schemas.openxmlformats.org/drawingml/2006/diagram" xmlns:a="http://schemas.openxmlformats.org/drawingml/2006/main" uniqueId="urn:microsoft.com/office/officeart/2016/7/layout/LinearArrowProcessNumbered">
  <dgm:title val="Linear Arrow Process Numbered"/>
  <dgm:desc val="Used to show a progression; a timeline; sequential steps in a task, process, or workflow; or to emphasize movement or direction. Automatic numbers have been introduced to show the steps of the process which appears in a circle. Level 1 and Level 2 text appear in a shape called UpArrowCallout. Also the nodes are connected by an arrow like shape emphasizing the process nature."/>
  <dgm:catLst>
    <dgm:cat type="process" pri="5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101" type="sibTrans" cxnId="4">
          <dgm:prSet phldrT="1"/>
          <dgm:t>
            <a:bodyPr/>
            <a:lstStyle/>
            <a:p>
              <a:r>
                <a:t>1</a:t>
              </a:r>
            </a:p>
          </dgm:t>
        </dgm:pt>
        <dgm:pt modelId="201" type="sibTrans" cxnId="5">
          <dgm:prSet phldrT="2"/>
          <dgm:t>
            <a:bodyPr/>
            <a:lstStyle/>
            <a:p>
              <a:r>
                <a:t>2</a:t>
              </a:r>
            </a:p>
          </dgm:t>
        </dgm:pt>
        <dgm:pt modelId="301" type="sibTrans" cxnId="6">
          <dgm:prSet phldrT="3"/>
          <dgm:t>
            <a:bodyPr/>
            <a:lstStyle/>
            <a:p>
              <a:r>
                <a:t>3</a:t>
              </a:r>
            </a:p>
          </dgm:t>
        </dgm:pt>
      </dgm:ptLst>
      <dgm:cxnLst>
        <dgm:cxn modelId="4" srcId="0" destId="1" srcOrd="0" destOrd="0" sibTransId="101"/>
        <dgm:cxn modelId="5" srcId="0" destId="2" srcOrd="1" destOrd="0" sibTransId="201"/>
        <dgm:cxn modelId="6" srcId="0" destId="3" srcOrd="3" destOrd="0" sibTransId="301"/>
        <dgm:cxn modelId="13" srcId="1" destId="11" srcOrd="0" destOrd="0"/>
        <dgm:cxn modelId="23" srcId="2" destId="21" srcOrd="0" destOrd="0"/>
        <dgm:cxn modelId="33"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L"/>
      <dgm:param type="nodeVertAlign" val="t"/>
    </dgm:alg>
    <dgm:shape xmlns:r="http://schemas.openxmlformats.org/officeDocument/2006/relationships" r:blip="">
      <dgm:adjLst/>
    </dgm:shape>
    <dgm:presOf/>
    <dgm:constrLst>
      <dgm:constr type="w" for="ch" forName="compositeNode" refType="w"/>
      <dgm:constr type="h" for="ch" forName="compositeNode" op="equ"/>
      <dgm:constr type="w" for="ch" forName="sibTransComposite" refType="w" refFor="ch" refForName="compositeNode" fact="0"/>
      <dgm:constr type="w" for="des" forName="parTx"/>
      <dgm:constr type="h" for="des" forName="parTx" op="equ"/>
      <dgm:constr type="h" for="des" forName="parSh" op="equ"/>
      <dgm:constr type="w" for="des" forName="nodeText"/>
      <dgm:constr type="h" for="des" forName="nodeText" op="equ"/>
      <dgm:constr type="w" for="des" forName="parSh"/>
      <dgm:constr type="w" for="des" forName="parSh" op="equ"/>
      <dgm:constr type="primFontSz" for="des" forName="parTx" val="26"/>
      <dgm:constr type="primFontSz" for="des" forName="parTx" op="equ"/>
      <dgm:constr type="primFontSz" for="des" forName="parSh" op="equ"/>
      <dgm:constr type="primFontSz" for="des" forName="nodeText" op="equ"/>
      <dgm:constr type="secFontSz" for="des" forName="nodeText" op="equ"/>
      <dgm:constr type="primFontSz" for="des" forName="sibTransNodeCircle" op="equ"/>
      <dgm:constr type="h" for="des" forName="sibTransNodeCircle" op="equ"/>
      <dgm:constr type="w" for="des" forName="sibTransNodeCircle" op="equ"/>
      <dgm:constr type="h" for="des" forName="parTx" refType="primFontSz" refFor="des" refForName="parTx" fact="1.5"/>
      <dgm:constr type="h" for="ch" forName="compositeNode" refType="h"/>
      <dgm:constr type="h" for="des" forName="parSh" refType="w"/>
      <dgm:constr type="h" for="des" forName="nodeText" refType="primFontSz" refFor="des" refForName="parTx" fact="2.1"/>
      <dgm:constr type="h" for="des" forName="parSh" refType="h" refFor="des" refForName="parTx" op="lte" fact="1.2"/>
      <dgm:constr type="h" for="des" forName="parSh" refType="h" refFor="des" refForName="parTx" op="gte" fact="1.2"/>
    </dgm:constrLst>
    <dgm:ruleLst>
      <dgm:rule type="primFontSz" for="des" forName="parSh" val="5" fact="NaN" max="NaN"/>
    </dgm:ruleLst>
    <dgm:forEach name="Name3" axis="ch" ptType="node">
      <dgm:layoutNode name="compositeNode">
        <dgm:alg type="composite"/>
        <dgm:shape xmlns:r="http://schemas.openxmlformats.org/officeDocument/2006/relationships" r:blip="">
          <dgm:adjLst/>
        </dgm:shape>
        <dgm:presOf/>
        <dgm:choose name="Name004">
          <dgm:if name="Name5" axis="self" ptType="node" func="cnt" op="equ" val="0">
            <dgm:constrLst>
              <dgm:constr type="w" for="ch" forName="parTx" refType="w"/>
              <dgm:constr type="w" for="ch" forName="parSh" refType="w" refFor="ch" refForName="parTx"/>
              <dgm:constr type="w" for="ch" forName="nodeText" refType="w" refFor="ch" refForName="parTx"/>
              <dgm:constr type="t" for="ch" forName="nodeText" refType="b" refFor="ch" refForName="parSh"/>
            </dgm:constrLst>
          </dgm:if>
          <dgm:else name="Name6">
            <dgm:constrLst>
              <dgm:constr type="w" for="ch" forName="parTx" refType="w"/>
              <dgm:constr type="w" for="ch" forName="parSh" refType="w" refFor="ch" refForName="parTx"/>
              <dgm:constr type="w" for="ch" forName="nodeText" refType="w" refFor="ch" refForName="parTx" fact="0.9"/>
              <dgm:constr type="t" for="ch" forName="nodeText" refType="b" refFor="ch" refForName="parSh"/>
            </dgm:constrLst>
          </dgm:else>
        </dgm:choose>
        <dgm:ruleLst>
          <dgm:rule type="h" val="INF" fact="NaN" max="NaN"/>
        </dgm:ruleLst>
        <dgm:layoutNode name="parTx">
          <dgm:varLst>
            <dgm:chMax val="0"/>
            <dgm:chPref val="0"/>
            <dgm:bulletEnabled val="1"/>
          </dgm:varLst>
          <dgm:alg type="tx"/>
          <dgm:shape xmlns:r="http://schemas.openxmlformats.org/officeDocument/2006/relationships" type="rect" r:blip="" zOrderOff="1" hideGeom="1">
            <dgm:adjLst/>
          </dgm:shape>
          <dgm:presOf/>
          <dgm:constrLst>
            <dgm:constr type="h" refType="w" op="lte" fact="0.4"/>
            <dgm:constr type="h"/>
          </dgm:constrLst>
          <dgm:ruleLst>
            <dgm:rule type="h" val="INF" fact="NaN" max="NaN"/>
          </dgm:ruleLst>
        </dgm:layoutNode>
        <dgm:layoutNode name="parSh">
          <dgm:alg type="composite"/>
          <dgm:shape xmlns:r="http://schemas.openxmlformats.org/officeDocument/2006/relationships" r:blip="">
            <dgm:adjLst/>
          </dgm:shape>
          <dgm:presOf axis="self" ptType="node"/>
          <dgm:choose name="casesForFirstAndLastNode">
            <dgm:if name="ifFirstNode" axis="self" ptType="node" func="pos" op="equ" val="1">
              <dgm:choose name="removeLineWhenOnlyOneNode">
                <dgm:if name="ifOnlyOneNode" axis="followSib" ptType="node" func="cnt" op="equ" val="0">
                  <dgm:constrLst>
                    <dgm:constr type="h"/>
                    <dgm:constr type="h" for="ch" forName="lineNode" val="0.002"/>
                    <dgm:constr type="w" for="ch" forName="lineNode" refType="w" fact="0"/>
                    <dgm:constr type="w" for="ch" forName="lineArrowNode" refType="w" fact="0"/>
                    <dgm:constr type="h" for="ch" forName="lineArrowNode" refType="h" fact="0"/>
                    <dgm:constr type="ctrY" for="ch" forName="lineNode" refType="ctrY" refFor="ch" refForName="sibTransNodeCircle"/>
                    <dgm:constr type="h" for="ch" forName="sibTransNodeCircle" refType="h" fact="0.9"/>
                    <dgm:constr type="w" for="ch" forName="sibTransNodeCircle" refType="h" refFor="ch" refForName="sibTransNodeCircle"/>
                    <dgm:constr type="ctrX" for="ch" forName="sibTransNodeCircle" refType="w" fact="0.45"/>
                    <dgm:constr type="ctrY" for="ch" forName="sibTransNodeCircle" refType="h" fact="0.25"/>
                    <dgm:constr type="t" for="ch" forName="spacerBetweenCircleAndCallout" refType="b" refFor="ch" refForName="sibTransNodeCircle"/>
                    <dgm:constr type="h" for="ch" forName="spacerBetweenCircleAndCallout" val="4.6"/>
                  </dgm:constrLst>
                </dgm:if>
                <dgm:else name="ifMoreThanOneNode">
                  <dgm:constrLst>
                    <dgm:constr type="h"/>
                    <dgm:constr type="h" for="ch" forName="lineNode" val="0.002"/>
                    <dgm:constr type="w" for="ch" forName="lineNode" refType="w" fact="0.4"/>
                    <dgm:constr type="l" for="ch" forName="lineNode" refType="w" fact="0.5"/>
                    <dgm:constr type="w" for="ch" forName="lineArrowNode" refType="w" fact="0.046"/>
                    <dgm:constr type="h" for="ch" forName="lineArrowNode" refType="h" fact="0.18"/>
                    <dgm:constr type="l" for="ch" forName="lineArrowNode" refType="w" fact="0.924"/>
                    <dgm:constr type="t" for="ch" forName="lineArrowNode" refType="h" fact="0.18"/>
                    <dgm:constr type="ctrY" for="ch" forName="lineNode" refType="ctrY" refFor="ch" refForName="sibTransNodeCircle"/>
                    <dgm:constr type="h" for="ch" forName="sibTransNodeCircle" refType="h" fact="0.9"/>
                    <dgm:constr type="w" for="ch" forName="sibTransNodeCircle" refType="h" refFor="ch" refForName="sibTransNodeCircle"/>
                    <dgm:constr type="ctrX" for="ch" forName="sibTransNodeCircle" refType="w" fact="0.45"/>
                    <dgm:constr type="ctrY" for="ch" forName="sibTransNodeCircle" refType="h" fact="0.25"/>
                    <dgm:constr type="t" for="ch" forName="spacerBetweenCircleAndCallout" refType="b" refFor="ch" refForName="sibTransNodeCircle"/>
                    <dgm:constr type="h" for="ch" forName="spacerBetweenCircleAndCallout" val="4.6"/>
                  </dgm:constrLst>
                </dgm:else>
              </dgm:choose>
            </dgm:if>
            <dgm:if name="ifLastNode" axis="self" ptType="node" func="revPos" op="equ" val="1">
              <dgm:constrLst>
                <dgm:constr type="h"/>
                <dgm:constr type="h" for="ch" forName="lineNode" val="0.002"/>
                <dgm:constr type="w" for="ch" forName="lineNode" refType="w" fact="0.45"/>
                <dgm:constr type="w" for="ch" forName="lineArrowNode" refType="w" fact="0"/>
                <dgm:constr type="h" for="ch" forName="lineArrowNode" refType="h" fact="0"/>
                <dgm:constr type="ctrY" for="ch" forName="lineNode" refType="ctrY" refFor="ch" refForName="sibTransNodeCircle"/>
                <dgm:constr type="h" for="ch" forName="sibTransNodeCircle" refType="h"/>
                <dgm:constr type="w" for="ch" forName="sibTransNodeCircle" refType="h" refFor="ch" refForName="sibTransNodeCircle"/>
                <dgm:constr type="ctrX" for="ch" forName="sibTransNodeCircle" refType="w" fact="0.45"/>
                <dgm:constr type="ctrY" for="ch" forName="sibTransNodeCircle" refType="h" fact="0.25"/>
                <dgm:constr type="t" for="ch" forName="spacerBetweenCircleAndCallout" refType="b" refFor="ch" refForName="sibTransNodeCircle"/>
                <dgm:constr type="h" for="ch" forName="spacerBetweenCircleAndCallout" val="4.6"/>
              </dgm:constrLst>
            </dgm:if>
            <dgm:else name="allOtherNodes">
              <dgm:constrLst>
                <dgm:constr type="h"/>
                <dgm:constr type="h" for="ch" forName="lineNode" val="0.002"/>
                <dgm:constr type="w" for="ch" forName="lineNode" refType="w" fact="0.9"/>
                <dgm:constr type="w" for="ch" forName="lineArrowNode" refType="w" fact="0.046"/>
                <dgm:constr type="h" for="ch" forName="lineArrowNode" refType="h" fact="0.18"/>
                <dgm:constr type="l" for="ch" forName="lineArrowNode" refType="w" fact="0.924"/>
                <dgm:constr type="t" for="ch" forName="lineArrowNode" refType="h" fact="0.18"/>
                <dgm:constr type="ctrY" for="ch" forName="lineNode" refType="ctrY" refFor="ch" refForName="sibTransNodeCircle"/>
                <dgm:constr type="h" for="ch" forName="sibTransNodeCircle" refType="h" fact="0.9"/>
                <dgm:constr type="w" for="ch" forName="sibTransNodeCircle" refType="h" refFor="ch" refForName="sibTransNodeCircle"/>
                <dgm:constr type="ctrX" for="ch" forName="sibTransNodeCircle" refType="w" fact="0.45"/>
                <dgm:constr type="ctrY" for="ch" forName="sibTransNodeCircle" refType="h" fact="0.25"/>
                <dgm:constr type="t" for="ch" forName="spacerBetweenCircleAndCallout" refType="b" refFor="ch" refForName="sibTransNodeCircle"/>
                <dgm:constr type="h" for="ch" forName="spacerBetweenCircleAndCallout" val="4.6"/>
              </dgm:constrLst>
            </dgm:else>
          </dgm:choose>
          <dgm:layoutNode name="lineNode" styleLbl="alignAccFollowNode1">
            <dgm:alg type="sp"/>
            <dgm:shape xmlns:r="http://schemas.openxmlformats.org/officeDocument/2006/relationships" type="rect" r:blip="">
              <dgm:adjLst/>
            </dgm:shape>
            <dgm:presOf/>
            <dgm:constrLst/>
            <dgm:ruleLst/>
          </dgm:layoutNode>
          <dgm:layoutNode name="lineArrowNode" styleLbl="alignAccFollowNode1">
            <dgm:alg type="sp"/>
            <dgm:shape xmlns:r="http://schemas.openxmlformats.org/officeDocument/2006/relationships" type="chevron" r:blip="">
              <dgm:adjLst>
                <dgm:adj idx="1" val="0.9"/>
              </dgm:adjLst>
            </dgm:shape>
            <dgm:presOf/>
            <dgm:ruleLst/>
          </dgm:layoutNode>
          <dgm:forEach name="Name19" axis="followSib" ptType="sibTrans" hideLastTrans="0" cnt="1">
            <dgm:layoutNode name="sibTransNodeCircle" styleLbl="alignNode1">
              <dgm:varLst>
                <dgm:chMax val="0"/>
                <dgm:bulletEnabled/>
              </dgm:varLst>
              <dgm:presOf axis="self" ptType="sibTrans"/>
              <dgm:alg type="tx">
                <dgm:param type="txAnchorVert" val="mid"/>
                <dgm:param type="txAnchorHorzCh" val="ctr"/>
                <dgm:param type="parTxRTLAlign" val="l"/>
              </dgm:alg>
              <dgm:shape xmlns:r="http://schemas.openxmlformats.org/officeDocument/2006/relationships" type="ellipse" r:blip="">
                <dgm:adjLst/>
              </dgm:shape>
              <dgm:constrLst>
                <dgm:constr type="w" refType="h" op="equ"/>
                <dgm:constr type="primFontSz" val="60"/>
                <dgm:constr type="tMarg" refType="w" fact="0.11"/>
                <dgm:constr type="lMarg" refType="w" fact="0.11"/>
                <dgm:constr type="rMarg" refType="w" fact="0.11"/>
                <dgm:constr type="bMarg" refType="w" fact="0.11"/>
              </dgm:constrLst>
              <dgm:ruleLst>
                <dgm:rule type="primFontSz" val="14" fact="NaN" max="NaN"/>
              </dgm:ruleLst>
            </dgm:layoutNode>
            <dgm:layoutNode name="spacerBetweenCircleAndCallout">
              <dgm:varLst/>
              <dgm:presOf/>
              <dgm:alg type="sp"/>
              <dgm:shape xmlns:r="http://schemas.openxmlformats.org/officeDocument/2006/relationships" r:blip="">
                <dgm:adjLst/>
              </dgm:shape>
              <dgm:constrLst/>
              <dgm:ruleLst/>
            </dgm:layoutNode>
          </dgm:forEach>
          <dgm:presOf/>
          <dgm:ruleLst/>
        </dgm:layoutNode>
        <dgm:layoutNode name="nodeText" styleLbl="alignAccFollowNode1">
          <dgm:varLst>
            <dgm:bulletEnabled val="1"/>
          </dgm:varLst>
          <dgm:alg type="tx">
            <dgm:param type="parTxLTRAlign" val="l"/>
            <dgm:param type="parTxRTLAlign" val="r"/>
            <dgm:param type="txAnchorVert" val="t"/>
          </dgm:alg>
          <dgm:shape xmlns:r="http://schemas.openxmlformats.org/officeDocument/2006/relationships" type="upArrowCallout" r:blip="">
            <dgm:adjLst>
              <dgm:adj idx="1" val="0.5"/>
              <dgm:adj idx="2" val="0.2"/>
              <dgm:adj idx="3" val="0.2"/>
              <dgm:adj idx="4" val="1"/>
            </dgm:adjLst>
          </dgm:shape>
          <dgm:presOf axis="desOrSelf" ptType="node"/>
          <dgm:constrLst>
            <dgm:constr type="secFontSz" val="16"/>
            <dgm:constr type="primFontSz" val="26"/>
            <dgm:constr type="h"/>
            <dgm:constr type="tMarg" val="13"/>
            <dgm:constr type="lMarg" refType="w" fact="0.2236"/>
            <dgm:constr type="rMarg" refType="w" fact="0.2236"/>
            <dgm:constr type="bMarg" val="13"/>
          </dgm:constrLst>
          <dgm:ruleLst>
            <dgm:rule type="secFontSz" val="11" fact="NaN" max="NaN"/>
            <dgm:rule type="primFontSz" val="11" fact="NaN" max="NaN"/>
            <dgm:rule type="h" val="INF" fact="NaN" max="NaN"/>
          </dgm:ruleLst>
        </dgm:layoutNode>
      </dgm:layoutNode>
      <dgm:forEach name="sibTransForEach" axis="followSib" ptType="sibTrans" cnt="1">
        <dgm:layoutNode name="sibTransComposite" styleLbl="alignAccFollowNode1">
          <dgm:alg type="sp"/>
          <dgm:shape xmlns:r="http://schemas.openxmlformats.org/officeDocument/2006/relationships" r:blip="">
            <dgm:adjLst/>
          </dgm:shape>
          <dgm:ruleLst/>
        </dgm:layoutNode>
        <dgm:ruleLst>
          <dgm:rule type="h" val="INF" fact="NaN" max="NaN"/>
        </dgm:ruleLst>
      </dgm:forEach>
    </dgm:forEach>
  </dgm:layoutNode>
  <dgm:extLst>
    <a:ext uri="{4F341089-5ED1-44EC-B178-C955D00A3D55}">
      <dgm1611:autoBuNodeInfoLst xmlns:dgm1611="http://schemas.microsoft.com/office/drawing/2016/11/diagram">
        <dgm1611:autoBuNodeInfo lvl="1" ptType="sibTrans">
          <dgm1611:buPr prefix="" leadZeros="0">
            <a:buAutoNum type="arabicParenBoth"/>
          </dgm1611:buPr>
        </dgm1611:autoBuNodeInfo>
      </dgm1611:autoBuNodeInfoLst>
    </a:ext>
  </dgm:extLst>
</dgm:layoutDef>
</file>

<file path=ppt/diagrams/layout17.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8.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16/7/layout/RepeatingBendingProcessNew">
  <dgm:title val="Repeating Bending Process New"/>
  <dgm:desc val=""/>
  <dgm:catLst>
    <dgm:cat type="process" pri="5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 type="tMarg" refType="h" fact="0.243"/>
          <dgm:constr type="bMarg" refType="h" fact="0.243"/>
          <dgm:constr type="lMarg" refType="w" fact="0.1389"/>
          <dgm:constr type="rMarg" refType="w" fact="0.1389"/>
        </dgm:constrLst>
        <dgm:ruleLst>
          <dgm:rule type="primFontSz" val="12"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16/7/layout/RepeatingBendingProcessNew">
  <dgm:title val="Repeating Bending Process New"/>
  <dgm:desc val=""/>
  <dgm:catLst>
    <dgm:cat type="process" pri="5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 type="tMarg" refType="h" fact="0.243"/>
          <dgm:constr type="bMarg" refType="h" fact="0.243"/>
          <dgm:constr type="lMarg" refType="w" fact="0.1389"/>
          <dgm:constr type="rMarg" refType="w" fact="0.1389"/>
        </dgm:constrLst>
        <dgm:ruleLst>
          <dgm:rule type="primFontSz" val="12"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16/7/layout/RepeatingBendingProcessNew">
  <dgm:title val="Repeating Bending Process New"/>
  <dgm:desc val=""/>
  <dgm:catLst>
    <dgm:cat type="process" pri="5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 type="tMarg" refType="h" fact="0.243"/>
          <dgm:constr type="bMarg" refType="h" fact="0.243"/>
          <dgm:constr type="lMarg" refType="w" fact="0.1389"/>
          <dgm:constr type="rMarg" refType="w" fact="0.1389"/>
        </dgm:constrLst>
        <dgm:ruleLst>
          <dgm:rule type="primFontSz" val="12"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16/7/layout/VerticalDownArrowProcess">
  <dgm:title val="Vertical Down Arrow Process"/>
  <dgm:desc val="Use to show a progression; a timeline; sequential steps in a task, process, or workflow; or to emphasize movement or direction. Level 1 text appears inside an arrow shape while Level 2 text appears below the arrow shapes."/>
  <dgm:catLst>
    <dgm:cat type="process" pri="5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2" destOrd="0"/>
        <dgm:cxn modelId="13" srcId="1" destId="11" srcOrd="0" destOrd="0"/>
        <dgm:cxn modelId="23" srcId="2" destId="21" srcOrd="0" destOrd="0"/>
        <dgm:cxn modelId="33" srcId="3" destId="3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36"/>
      <dgm:constr type="primFontSz" for="des" forName="parentTextArrow" refType="primFontSz" refFor="des" refForName="parentTextBox" op="equ"/>
      <dgm:constr type="primFontSz" for="des" forName="descendantArrow" val="24"/>
      <dgm:constr type="primFontSz" for="des" forName="descendantArrow" refType="primFontSz" refFor="des" refForName="parentTextArrow" op="lte"/>
      <dgm:constr type="primFontSz" for="des" forName="descendantBox" refType="primFontSz" refFor="des" refForName="parentTextArrow" op="lte"/>
      <dgm:constr type="primFontSz" for="des" forName="descendantBox" refType="primFontSz" refFor="des" refForName="parentTextBox" op="lte"/>
      <dgm:constr type="primFontSz" for="des" forName="descendantArrow" refType="primFontSz" refFor="des" refForName="parentTextBox" op="lte"/>
      <dgm:constr type="primFontSz" for="des" forName="descendantBox" refType="primFontSz" refFor="des" refForName="descendan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onstrLst>
              <dgm:constr type="w" for="ch" forName="parentTextBox" refType="w" fact="0.25"/>
              <dgm:constr type="h" for="ch" forName="parentTextBox" refType="h"/>
              <dgm:constr type="t" for="ch" forName="parentTextBox"/>
              <dgm:constr type="w" for="ch" forName="descendantBox" refType="w" fact="0.75"/>
              <dgm:constr type="l" for="ch" forName="descendantBox" refType="w" fact="0.25"/>
              <dgm:constr type="b" for="ch" forName="descendantBox" refType="h"/>
              <dgm:constr type="h" for="ch" forName="descendantBox" refType="h"/>
            </dgm:constrLst>
            <dgm:ruleLst/>
            <dgm:layoutNode name="parentTextBox" styleLbl="alignNode1">
              <dgm:alg type="tx"/>
              <dgm:shape xmlns:r="http://schemas.openxmlformats.org/officeDocument/2006/relationships" type="rect" r:blip="">
                <dgm:adjLst/>
              </dgm:shape>
              <dgm:presOf axis="self"/>
              <dgm:constrLst>
                <dgm:constr type="primFontSz" refType="h" op="lte" fact="0.5"/>
                <dgm:constr type="lMarg" refType="w" fact="0.2016"/>
                <dgm:constr type="rMarg" refType="w" fact="0.2016"/>
              </dgm:constrLst>
              <dgm:ruleLst>
                <dgm:rule type="primFontSz" val="13" fact="NaN" max="NaN"/>
              </dgm:ruleLst>
            </dgm:layoutNode>
            <dgm:layoutNode name="descendantBox" styleLbl="bgAccFollowNode1">
              <dgm:alg type="tx">
                <dgm:param type="stBulletLvl" val="0"/>
                <dgm:param type="parTxLTRAlign" val="l"/>
              </dgm:alg>
              <dgm:shape xmlns:r="http://schemas.openxmlformats.org/officeDocument/2006/relationships" type="rect" r:blip="">
                <dgm:adjLst/>
              </dgm:shape>
              <dgm:presOf/>
              <dgm:constrLst>
                <dgm:constr type="tMarg" refType="primFontSz"/>
                <dgm:constr type="bMarg" refType="primFontSz"/>
                <dgm:constr type="lMarg" refType="w" fact="0.0575"/>
                <dgm:constr type="rMarg" refType="w" fact="0.0575"/>
              </dgm:constrLst>
              <dgm:presOf axis="des" ptType="node"/>
              <dgm:ruleLst>
                <dgm:rule type="primFontSz" val="11" fact="NaN" max="NaN"/>
              </dgm:ruleLst>
            </dgm:layoutNode>
          </dgm:layoutNode>
        </dgm:if>
        <dgm:else name="Name17">
          <dgm:layoutNode name="arrowAndChildren">
            <dgm:alg type="composite"/>
            <dgm:shape xmlns:r="http://schemas.openxmlformats.org/officeDocument/2006/relationships" r:blip="">
              <dgm:adjLst/>
            </dgm:shape>
            <dgm:presOf/>
            <dgm:constrLst>
              <dgm:constr type="w" for="ch" forName="parentTextArrow" refType="w" fact="0.25"/>
              <dgm:constr type="t" for="ch" forName="parentTextArrow"/>
              <dgm:constr type="h" for="ch" forName="parentTextArrow" refType="h" fact="0.65"/>
              <dgm:constr type="w" for="ch" forName="arrow" refType="w" fact="0.25"/>
              <dgm:constr type="h" for="ch" forName="arrow" refType="h"/>
              <dgm:constr type="l" for="ch" forName="descendantArrow" refType="w" fact="0.25"/>
              <dgm:constr type="w" for="ch" forName="descendantArrow" refType="w" fact="0.75"/>
              <dgm:constr type="b" for="ch" forName="descendantArrow" refType="h" fact="0.65"/>
              <dgm:constr type="h" for="ch" forName="descendantArrow" refType="h" fact="0.65"/>
            </dgm:constrLst>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constr type="primFontSz" refType="h" op="lte" fact="0.5"/>
                <dgm:constr type="lMarg" refType="w" fact="0.2016"/>
                <dgm:constr type="rMarg" refType="w" fact="0.2016"/>
              </dgm:constrLst>
              <dgm:ruleLst>
                <dgm:rule type="primFontSz" val="13" fact="NaN" max="NaN"/>
              </dgm:ruleLst>
            </dgm:layoutNode>
            <dgm:layoutNode name="arrow" styleLbl="alignNode1">
              <dgm:alg type="sp"/>
              <dgm:shape xmlns:r="http://schemas.openxmlformats.org/officeDocument/2006/relationships" rot="180" type="upArrowCallout" r:blip="">
                <dgm:adjLst>
                  <dgm:adj idx="1" val="0.05"/>
                  <dgm:adj idx="2" val="0.1"/>
                  <dgm:adj idx="3" val="0.15"/>
                </dgm:adjLst>
              </dgm:shape>
              <dgm:presOf axis="self"/>
              <dgm:constrLst/>
              <dgm:ruleLst/>
            </dgm:layoutNode>
            <dgm:layoutNode name="descendantArrow" styleLbl="bgAccFollowNode1">
              <dgm:alg type="tx">
                <dgm:param type="stBulletLvl" val="0"/>
                <dgm:param type="parTxLTRAlign" val="l"/>
              </dgm:alg>
              <dgm:shape xmlns:r="http://schemas.openxmlformats.org/officeDocument/2006/relationships" type="rect" r:blip="">
                <dgm:adjLst/>
              </dgm:shape>
              <dgm:presOf axis="des" ptType="node"/>
              <dgm:constrLst>
                <dgm:constr type="tMarg" refType="primFontSz"/>
                <dgm:constr type="bMarg" refType="primFontSz"/>
                <dgm:constr type="lMarg" refType="w" fact="0.0575"/>
                <dgm:constr type="rMarg" refType="w" fact="0.0575"/>
              </dgm:constrLst>
              <dgm:ruleLst>
                <dgm:rule type="primFontSz" val="11" fact="NaN" max="NaN"/>
              </dgm:ruleLst>
            </dgm:layoutNod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D354273-E04F-4A6B-AB46-301CAB090479}" type="datetimeFigureOut">
              <a:rPr lang="en-US" smtClean="0"/>
              <a:t>11/14/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97A4B63-AD09-44DE-BEEC-F379281B23CC}" type="slidenum">
              <a:rPr lang="en-US" smtClean="0"/>
              <a:t>‹#›</a:t>
            </a:fld>
            <a:endParaRPr lang="en-US"/>
          </a:p>
        </p:txBody>
      </p:sp>
    </p:spTree>
    <p:extLst>
      <p:ext uri="{BB962C8B-B14F-4D97-AF65-F5344CB8AC3E}">
        <p14:creationId xmlns:p14="http://schemas.microsoft.com/office/powerpoint/2010/main" val="41463849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learn.microsoft.com/en-us/training/modules/go-to-market-commercial-marketplace/3-sales-channels"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learn.microsoft.com/en-us/training/modules/go-to-market-commercial-marketplace/3-sales-channels"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learn.microsoft.com/en-us/marketplace/azure-purchasing-invoicing"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learn.microsoft.com/en-us/marketplace/azure-purchasing-invoicing" TargetMode="External"/><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learn.microsoft.com/en-us/training/modules/go-to-market-commercial-marketplace/3-sales-channels" TargetMode="External"/><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portal.azure.com/" TargetMode="External"/><Relationship Id="rId2" Type="http://schemas.openxmlformats.org/officeDocument/2006/relationships/slide" Target="../slides/slide26.xml"/><Relationship Id="rId1" Type="http://schemas.openxmlformats.org/officeDocument/2006/relationships/notesMaster" Target="../notesMasters/notesMaster1.xml"/><Relationship Id="rId4" Type="http://schemas.openxmlformats.org/officeDocument/2006/relationships/hyperlink" Target="https://learn.microsoft.com/en-us/marketplace/azure-consumption-commitment-benefit" TargetMode="Externa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learn.microsoft.com/en-us/training/modules/go-to-market-commercial-marketplace/3-sales-channels" TargetMode="External"/><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portal.azure.com/" TargetMode="External"/><Relationship Id="rId2" Type="http://schemas.openxmlformats.org/officeDocument/2006/relationships/slide" Target="../slides/slide28.xml"/><Relationship Id="rId1" Type="http://schemas.openxmlformats.org/officeDocument/2006/relationships/notesMaster" Target="../notesMasters/notesMaster1.xml"/><Relationship Id="rId6" Type="http://schemas.openxmlformats.org/officeDocument/2006/relationships/hyperlink" Target="https://learn.microsoft.com/en-us/marketplace/private-plans" TargetMode="External"/><Relationship Id="rId5" Type="http://schemas.openxmlformats.org/officeDocument/2006/relationships/hyperlink" Target="https://learn.microsoft.com/en-us/azure/virtual-machines/shared-image-galleries" TargetMode="External"/><Relationship Id="rId4" Type="http://schemas.openxmlformats.org/officeDocument/2006/relationships/hyperlink" Target="https://learn.microsoft.com/en-us/marketplace/azure-consumption-commitment-benefit" TargetMode="Externa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learn.microsoft.com/en-us/marketplace/saas-subscription-lifecycle-management#change-plans" TargetMode="External"/><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learn.microsoft.com/en-us/marketplace/programmatic-deploy-of-marketplace-products" TargetMode="External"/><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learn.microsoft.com/en-us/marketplace/saas-subscription-lifecycle-management" TargetMode="External"/><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s://learn.microsoft.com/en-us/azure/active-directory/manage-apps/configure-user-consent?pivots=portal" TargetMode="External"/><Relationship Id="rId2" Type="http://schemas.openxmlformats.org/officeDocument/2006/relationships/slide" Target="../slides/slide43.xml"/><Relationship Id="rId1" Type="http://schemas.openxmlformats.org/officeDocument/2006/relationships/notesMaster" Target="../notesMasters/notesMaster1.xml"/><Relationship Id="rId4" Type="http://schemas.openxmlformats.org/officeDocument/2006/relationships/hyperlink" Target="https://learn.microsoft.com/en-us/marketplace/marketplace-procurement-technical-playbook#find-your-permissions-and-account-settings" TargetMode="Externa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s://learn.microsoft.com/en-us/azure/active-directory/manage-apps/configure-user-consent?pivots=portal" TargetMode="External"/><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s://learn.microsoft.com/en-us/training/modules/go-to-market-commercial-marketplace/5-lead-management" TargetMode="External"/><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3" Type="http://schemas.openxmlformats.org/officeDocument/2006/relationships/hyperlink" Target="https://learn.microsoft.com/en-us/marketplace/marketplace-procurement-technical-playbook#find-your-permissions-and-account-settings" TargetMode="External"/><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3" Type="http://schemas.openxmlformats.org/officeDocument/2006/relationships/hyperlink" Target="https://learn.microsoft.com/en-us/marketplace/marketplace-procurement-technical-playbook" TargetMode="External"/><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3" Type="http://schemas.openxmlformats.org/officeDocument/2006/relationships/hyperlink" Target="https://learn.microsoft.com/en-us/marketplace/create-manage-private-azure-marketplace-new" TargetMode="External"/><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learn.microsoft.com/en-us/marketplace/azure-marketplace-overview"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learn.microsoft.com/en-us/marketplace/azure-marketplace-overview"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learn.microsoft.com/en-us/marketplace/azure-marketplace-overview"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learn.microsoft.com/en-us/marketplace/azure-marketplace-overview"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nSpc>
                <a:spcPct val="107000"/>
              </a:lnSpc>
              <a:spcAft>
                <a:spcPts val="800"/>
              </a:spcAft>
            </a:pPr>
            <a:r>
              <a:rPr lang="en-US">
                <a:latin typeface="Segoe UI"/>
                <a:ea typeface="Calibri" panose="020F0502020204030204" pitchFamily="34" charset="0"/>
                <a:cs typeface="Segoe UI"/>
              </a:rPr>
              <a:t>Review the learning objects with the participants. </a:t>
            </a:r>
          </a:p>
          <a:p>
            <a:pPr defTabSz="924916">
              <a:defRP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1770B9-05F8-46F3-AC49-223CF0B1164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50784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Commercial marketplace sales channels - Training | Microsoft Learn</a:t>
            </a:r>
            <a:endParaRPr lang="en-US"/>
          </a:p>
          <a:p>
            <a:endParaRPr lang="en-US">
              <a:cs typeface="Calibri"/>
            </a:endParaRPr>
          </a:p>
        </p:txBody>
      </p:sp>
      <p:sp>
        <p:nvSpPr>
          <p:cNvPr id="4" name="Slide Number Placeholder 3"/>
          <p:cNvSpPr>
            <a:spLocks noGrp="1"/>
          </p:cNvSpPr>
          <p:nvPr>
            <p:ph type="sldNum" sz="quarter" idx="5"/>
          </p:nvPr>
        </p:nvSpPr>
        <p:spPr/>
        <p:txBody>
          <a:bodyPr/>
          <a:lstStyle/>
          <a:p>
            <a:fld id="{297A4B63-AD09-44DE-BEEC-F379281B23CC}" type="slidenum">
              <a:rPr lang="en-US" smtClean="0"/>
              <a:t>19</a:t>
            </a:fld>
            <a:endParaRPr lang="en-US"/>
          </a:p>
        </p:txBody>
      </p:sp>
    </p:spTree>
    <p:extLst>
      <p:ext uri="{BB962C8B-B14F-4D97-AF65-F5344CB8AC3E}">
        <p14:creationId xmlns:p14="http://schemas.microsoft.com/office/powerpoint/2010/main" val="163054891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Commercial marketplace sales channels - Training | Microsoft Learn</a:t>
            </a:r>
            <a:endParaRPr lang="en-US"/>
          </a:p>
          <a:p>
            <a:endParaRPr lang="en-US">
              <a:cs typeface="Calibri"/>
            </a:endParaRPr>
          </a:p>
        </p:txBody>
      </p:sp>
      <p:sp>
        <p:nvSpPr>
          <p:cNvPr id="4" name="Slide Number Placeholder 3"/>
          <p:cNvSpPr>
            <a:spLocks noGrp="1"/>
          </p:cNvSpPr>
          <p:nvPr>
            <p:ph type="sldNum" sz="quarter" idx="5"/>
          </p:nvPr>
        </p:nvSpPr>
        <p:spPr/>
        <p:txBody>
          <a:bodyPr/>
          <a:lstStyle/>
          <a:p>
            <a:fld id="{297A4B63-AD09-44DE-BEEC-F379281B23CC}" type="slidenum">
              <a:rPr lang="en-US" smtClean="0"/>
              <a:t>20</a:t>
            </a:fld>
            <a:endParaRPr lang="en-US"/>
          </a:p>
        </p:txBody>
      </p:sp>
    </p:spTree>
    <p:extLst>
      <p:ext uri="{BB962C8B-B14F-4D97-AF65-F5344CB8AC3E}">
        <p14:creationId xmlns:p14="http://schemas.microsoft.com/office/powerpoint/2010/main" val="317151511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Purchasing software and solutions from Azure Marketplace - Microsoft marketplace | Microsoft Learn</a:t>
            </a:r>
            <a:endParaRPr lang="en-US"/>
          </a:p>
        </p:txBody>
      </p:sp>
      <p:sp>
        <p:nvSpPr>
          <p:cNvPr id="4" name="Slide Number Placeholder 3"/>
          <p:cNvSpPr>
            <a:spLocks noGrp="1"/>
          </p:cNvSpPr>
          <p:nvPr>
            <p:ph type="sldNum" sz="quarter" idx="5"/>
          </p:nvPr>
        </p:nvSpPr>
        <p:spPr/>
        <p:txBody>
          <a:bodyPr/>
          <a:lstStyle/>
          <a:p>
            <a:fld id="{297A4B63-AD09-44DE-BEEC-F379281B23CC}" type="slidenum">
              <a:rPr lang="en-US" smtClean="0"/>
              <a:t>23</a:t>
            </a:fld>
            <a:endParaRPr lang="en-US"/>
          </a:p>
        </p:txBody>
      </p:sp>
    </p:spTree>
    <p:extLst>
      <p:ext uri="{BB962C8B-B14F-4D97-AF65-F5344CB8AC3E}">
        <p14:creationId xmlns:p14="http://schemas.microsoft.com/office/powerpoint/2010/main" val="357931007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Purchasing software and solutions from Azure Marketplace - Microsoft marketplace | Microsoft Learn</a:t>
            </a:r>
            <a:endParaRPr lang="en-US"/>
          </a:p>
        </p:txBody>
      </p:sp>
      <p:sp>
        <p:nvSpPr>
          <p:cNvPr id="4" name="Slide Number Placeholder 3"/>
          <p:cNvSpPr>
            <a:spLocks noGrp="1"/>
          </p:cNvSpPr>
          <p:nvPr>
            <p:ph type="sldNum" sz="quarter" idx="5"/>
          </p:nvPr>
        </p:nvSpPr>
        <p:spPr/>
        <p:txBody>
          <a:bodyPr/>
          <a:lstStyle/>
          <a:p>
            <a:fld id="{297A4B63-AD09-44DE-BEEC-F379281B23CC}" type="slidenum">
              <a:rPr lang="en-US" smtClean="0"/>
              <a:t>24</a:t>
            </a:fld>
            <a:endParaRPr lang="en-US"/>
          </a:p>
        </p:txBody>
      </p:sp>
    </p:spTree>
    <p:extLst>
      <p:ext uri="{BB962C8B-B14F-4D97-AF65-F5344CB8AC3E}">
        <p14:creationId xmlns:p14="http://schemas.microsoft.com/office/powerpoint/2010/main" val="317677484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Commercial marketplace sales channels - Training | Microsoft Learn</a:t>
            </a:r>
            <a:endParaRPr lang="en-US"/>
          </a:p>
          <a:p>
            <a:endParaRPr lang="en-US">
              <a:cs typeface="Calibri"/>
            </a:endParaRPr>
          </a:p>
        </p:txBody>
      </p:sp>
      <p:sp>
        <p:nvSpPr>
          <p:cNvPr id="4" name="Slide Number Placeholder 3"/>
          <p:cNvSpPr>
            <a:spLocks noGrp="1"/>
          </p:cNvSpPr>
          <p:nvPr>
            <p:ph type="sldNum" sz="quarter" idx="5"/>
          </p:nvPr>
        </p:nvSpPr>
        <p:spPr/>
        <p:txBody>
          <a:bodyPr/>
          <a:lstStyle/>
          <a:p>
            <a:fld id="{297A4B63-AD09-44DE-BEEC-F379281B23CC}" type="slidenum">
              <a:rPr lang="en-US" smtClean="0"/>
              <a:t>25</a:t>
            </a:fld>
            <a:endParaRPr lang="en-US"/>
          </a:p>
        </p:txBody>
      </p:sp>
    </p:spTree>
    <p:extLst>
      <p:ext uri="{BB962C8B-B14F-4D97-AF65-F5344CB8AC3E}">
        <p14:creationId xmlns:p14="http://schemas.microsoft.com/office/powerpoint/2010/main" val="26415571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a:buChar char="•"/>
            </a:pPr>
            <a:r>
              <a:rPr lang="en-US"/>
              <a:t>Sign in to Azure portal at </a:t>
            </a:r>
            <a:r>
              <a:rPr lang="en-US">
                <a:hlinkClick r:id="rId3"/>
              </a:rPr>
              <a:t>https://portal.azure.com</a:t>
            </a:r>
            <a:r>
              <a:rPr lang="en-US"/>
              <a:t>.</a:t>
            </a:r>
          </a:p>
          <a:p>
            <a:pPr marL="285750" indent="-285750">
              <a:buFont typeface="Arial"/>
              <a:buChar char="•"/>
            </a:pPr>
            <a:r>
              <a:rPr lang="en-US"/>
              <a:t>Under </a:t>
            </a:r>
            <a:r>
              <a:rPr lang="en-US" b="1"/>
              <a:t>Azure services</a:t>
            </a:r>
            <a:r>
              <a:rPr lang="en-US"/>
              <a:t>, select </a:t>
            </a:r>
            <a:r>
              <a:rPr lang="en-US" b="1"/>
              <a:t>+ Create a resource</a:t>
            </a:r>
            <a:r>
              <a:rPr lang="en-US"/>
              <a:t>.</a:t>
            </a:r>
          </a:p>
          <a:p>
            <a:pPr marL="285750" indent="-285750">
              <a:buFont typeface="Arial"/>
              <a:buChar char="•"/>
            </a:pPr>
            <a:r>
              <a:rPr lang="en-US"/>
              <a:t>In the upper-right of the page, next to </a:t>
            </a:r>
            <a:r>
              <a:rPr lang="en-US" b="1"/>
              <a:t>Popular Marketplace products</a:t>
            </a:r>
            <a:r>
              <a:rPr lang="en-US"/>
              <a:t>, select </a:t>
            </a:r>
            <a:r>
              <a:rPr lang="en-US" b="1"/>
              <a:t>See more in Marketplace</a:t>
            </a:r>
            <a:r>
              <a:rPr lang="en-US"/>
              <a:t>.</a:t>
            </a:r>
          </a:p>
          <a:p>
            <a:pPr marL="285750" indent="-285750">
              <a:buFont typeface="Arial"/>
              <a:buChar char="•"/>
            </a:pPr>
            <a:r>
              <a:rPr lang="en-US"/>
              <a:t>To filter the results on Azure Application offers, select the </a:t>
            </a:r>
            <a:r>
              <a:rPr lang="en-US" b="1"/>
              <a:t>Product Type</a:t>
            </a:r>
            <a:r>
              <a:rPr lang="en-US"/>
              <a:t> filter near the top of the page, and then select </a:t>
            </a:r>
            <a:r>
              <a:rPr lang="en-US" b="1"/>
              <a:t>Azure Applications</a:t>
            </a:r>
            <a:r>
              <a:rPr lang="en-US"/>
              <a:t>.</a:t>
            </a:r>
            <a:endParaRPr lang="en-US">
              <a:cs typeface="Calibri"/>
            </a:endParaRPr>
          </a:p>
          <a:p>
            <a:pPr marL="285750" indent="-285750">
              <a:buFont typeface="Arial"/>
              <a:buChar char="•"/>
            </a:pPr>
            <a:r>
              <a:rPr lang="en-US"/>
              <a:t>You can optionally filter the results using the following filters.</a:t>
            </a:r>
            <a:endParaRPr lang="en-US">
              <a:cs typeface="Calibri"/>
            </a:endParaRPr>
          </a:p>
          <a:p>
            <a:r>
              <a:rPr lang="en-US" b="1"/>
              <a:t>Filter group</a:t>
            </a:r>
            <a:endParaRPr lang="en-US"/>
          </a:p>
          <a:p>
            <a:r>
              <a:rPr lang="en-US" b="1"/>
              <a:t>Description</a:t>
            </a:r>
            <a:endParaRPr lang="en-US"/>
          </a:p>
          <a:p>
            <a:r>
              <a:rPr lang="en-US"/>
              <a:t>Pricing</a:t>
            </a:r>
            <a:endParaRPr lang="en-US">
              <a:cs typeface="Calibri"/>
            </a:endParaRPr>
          </a:p>
          <a:p>
            <a:r>
              <a:rPr lang="en-US"/>
              <a:t>You can filter on the following:</a:t>
            </a:r>
            <a:br>
              <a:rPr lang="en-US">
                <a:cs typeface="+mn-lt"/>
              </a:rPr>
            </a:br>
            <a:r>
              <a:rPr lang="en-US"/>
              <a:t>Free – free plan, the software is provided with no additional cost, not including the cost associated with the VM instance type.</a:t>
            </a:r>
            <a:br>
              <a:rPr lang="en-US">
                <a:cs typeface="+mn-lt"/>
              </a:rPr>
            </a:br>
            <a:r>
              <a:rPr lang="en-US"/>
              <a:t>Free trial - Azure virtual machine plans allow for 1, 3, or 6-month free trials. Once the free trial is over the Pay as you Go price will be charged.</a:t>
            </a:r>
            <a:br>
              <a:rPr lang="en-US">
                <a:cs typeface="+mn-lt"/>
              </a:rPr>
            </a:br>
            <a:r>
              <a:rPr lang="en-US"/>
              <a:t>Bring your own license – contact the publisher to get the license for using the software</a:t>
            </a:r>
            <a:br>
              <a:rPr lang="en-US">
                <a:cs typeface="+mn-lt"/>
              </a:rPr>
            </a:br>
            <a:r>
              <a:rPr lang="en-US"/>
              <a:t>Pay as you go - usage-based pricing model, can be charged per core, per core size, or per market (customer sold-to address) and core size</a:t>
            </a:r>
            <a:endParaRPr lang="en-US">
              <a:cs typeface="Calibri"/>
            </a:endParaRPr>
          </a:p>
          <a:p>
            <a:r>
              <a:rPr lang="en-US"/>
              <a:t>Publisher Type</a:t>
            </a:r>
            <a:endParaRPr lang="en-US">
              <a:cs typeface="Calibri"/>
            </a:endParaRPr>
          </a:p>
          <a:p>
            <a:r>
              <a:rPr lang="en-US"/>
              <a:t>Select Microsoft, Partners, or both</a:t>
            </a:r>
            <a:endParaRPr lang="en-US">
              <a:cs typeface="Calibri"/>
            </a:endParaRPr>
          </a:p>
          <a:p>
            <a:r>
              <a:rPr lang="en-US"/>
              <a:t>Publisher name</a:t>
            </a:r>
            <a:endParaRPr lang="en-US">
              <a:cs typeface="Calibri"/>
            </a:endParaRPr>
          </a:p>
          <a:p>
            <a:r>
              <a:rPr lang="en-US"/>
              <a:t>Filter the products based on the publisher's name</a:t>
            </a:r>
            <a:endParaRPr lang="en-US">
              <a:cs typeface="Calibri"/>
            </a:endParaRPr>
          </a:p>
          <a:p>
            <a:pPr marL="285750" indent="-285750">
              <a:buFont typeface="Arial"/>
              <a:buChar char="•"/>
            </a:pPr>
            <a:r>
              <a:rPr lang="en-US"/>
              <a:t>You can optionally select a category on the left-side of the page to further filter the results.</a:t>
            </a:r>
            <a:endParaRPr lang="en-US">
              <a:cs typeface="Calibri"/>
            </a:endParaRPr>
          </a:p>
          <a:p>
            <a:pPr marL="285750" indent="-285750">
              <a:buFont typeface="Arial"/>
              <a:buChar char="•"/>
            </a:pPr>
            <a:r>
              <a:rPr lang="en-US"/>
              <a:t>To see only offers that are eligible for the Azure benefit program, select the </a:t>
            </a:r>
            <a:r>
              <a:rPr lang="en-US" b="1"/>
              <a:t>Azure benefit eligible only</a:t>
            </a:r>
            <a:r>
              <a:rPr lang="en-US"/>
              <a:t> check box. To learn more about this benefit program, see </a:t>
            </a:r>
            <a:r>
              <a:rPr lang="en-US">
                <a:hlinkClick r:id="rId4"/>
              </a:rPr>
              <a:t>Azure consumption commitment benefit</a:t>
            </a:r>
            <a:r>
              <a:rPr lang="en-US"/>
              <a:t>.</a:t>
            </a:r>
            <a:endParaRPr lang="en-US">
              <a:cs typeface="Calibri"/>
            </a:endParaRPr>
          </a:p>
          <a:p>
            <a:pPr marL="285750" indent="-285750">
              <a:buFont typeface="Arial"/>
              <a:buChar char="•"/>
            </a:pPr>
            <a:r>
              <a:rPr lang="en-US"/>
              <a:t>Select the Azure Application offer you want.</a:t>
            </a:r>
            <a:endParaRPr lang="en-US">
              <a:cs typeface="Calibri"/>
            </a:endParaRPr>
          </a:p>
          <a:p>
            <a:pPr marL="285750" indent="-285750">
              <a:buFont typeface="Arial"/>
              <a:buChar char="•"/>
            </a:pPr>
            <a:r>
              <a:rPr lang="en-US"/>
              <a:t>If the offer has more than one plan, you can see them on the </a:t>
            </a:r>
            <a:r>
              <a:rPr lang="en-US" b="1"/>
              <a:t>Plans + Pricing</a:t>
            </a:r>
            <a:r>
              <a:rPr lang="en-US"/>
              <a:t> tab.</a:t>
            </a:r>
            <a:endParaRPr lang="en-US">
              <a:cs typeface="Calibri"/>
            </a:endParaRPr>
          </a:p>
          <a:p>
            <a:pPr marL="285750" indent="-285750">
              <a:buFont typeface="Arial"/>
              <a:buChar char="•"/>
            </a:pPr>
            <a:r>
              <a:rPr lang="en-US"/>
              <a:t>Select </a:t>
            </a:r>
            <a:r>
              <a:rPr lang="en-US" b="1"/>
              <a:t>Create</a:t>
            </a:r>
            <a:r>
              <a:rPr lang="en-US"/>
              <a:t>. The </a:t>
            </a:r>
            <a:r>
              <a:rPr lang="en-US" b="1"/>
              <a:t>Create </a:t>
            </a:r>
            <a:r>
              <a:rPr lang="en-US" b="1" i="1"/>
              <a:t>Offer Name</a:t>
            </a:r>
            <a:r>
              <a:rPr lang="en-US"/>
              <a:t> page appears.</a:t>
            </a:r>
            <a:endParaRPr lang="en-US">
              <a:cs typeface="Calibri"/>
            </a:endParaRPr>
          </a:p>
          <a:p>
            <a:pPr marL="285750" indent="-285750">
              <a:buFont typeface="Arial"/>
              <a:buChar char="•"/>
            </a:pPr>
            <a:r>
              <a:rPr lang="en-US"/>
              <a:t>On the </a:t>
            </a:r>
            <a:r>
              <a:rPr lang="en-US" b="1"/>
              <a:t>Basics</a:t>
            </a:r>
            <a:r>
              <a:rPr lang="en-US"/>
              <a:t> tab, under </a:t>
            </a:r>
            <a:r>
              <a:rPr lang="en-US" b="1"/>
              <a:t>Project details</a:t>
            </a:r>
            <a:r>
              <a:rPr lang="en-US"/>
              <a:t>, make sure the subscription you want the VM for is selected. Then next to </a:t>
            </a:r>
            <a:r>
              <a:rPr lang="en-US" b="1"/>
              <a:t>Resource group</a:t>
            </a:r>
            <a:r>
              <a:rPr lang="en-US"/>
              <a:t>, do one of the following:</a:t>
            </a:r>
            <a:endParaRPr lang="en-US">
              <a:cs typeface="Calibri"/>
            </a:endParaRPr>
          </a:p>
          <a:p>
            <a:pPr marL="285750" lvl="1" indent="-285750">
              <a:buFont typeface="Arial"/>
              <a:buChar char="•"/>
            </a:pPr>
            <a:r>
              <a:rPr lang="en-US"/>
              <a:t>From the </a:t>
            </a:r>
            <a:r>
              <a:rPr lang="en-US" b="1"/>
              <a:t>Resource group</a:t>
            </a:r>
            <a:r>
              <a:rPr lang="en-US"/>
              <a:t> list, select an existing resource group.</a:t>
            </a:r>
            <a:endParaRPr lang="en-US">
              <a:cs typeface="Calibri"/>
            </a:endParaRPr>
          </a:p>
          <a:p>
            <a:pPr marL="285750" lvl="1" indent="-285750">
              <a:buFont typeface="Arial"/>
              <a:buChar char="•"/>
            </a:pPr>
            <a:r>
              <a:rPr lang="en-US"/>
              <a:t>Below the </a:t>
            </a:r>
            <a:r>
              <a:rPr lang="en-US" b="1"/>
              <a:t>Resource group</a:t>
            </a:r>
            <a:r>
              <a:rPr lang="en-US"/>
              <a:t> list, select </a:t>
            </a:r>
            <a:r>
              <a:rPr lang="en-US" b="1"/>
              <a:t>Create new</a:t>
            </a:r>
            <a:r>
              <a:rPr lang="en-US"/>
              <a:t>. Then, in the dialog box that appears, enter a name for the resource group and select </a:t>
            </a:r>
            <a:r>
              <a:rPr lang="en-US" b="1"/>
              <a:t>OK</a:t>
            </a:r>
            <a:r>
              <a:rPr lang="en-US"/>
              <a:t>.</a:t>
            </a:r>
            <a:endParaRPr lang="en-US">
              <a:cs typeface="Calibri"/>
            </a:endParaRPr>
          </a:p>
          <a:p>
            <a:pPr marL="285750" indent="-285750">
              <a:buFont typeface="Arial"/>
              <a:buChar char="•"/>
            </a:pPr>
            <a:r>
              <a:rPr lang="en-US"/>
              <a:t>Complete any remaining fields on the page, and then select </a:t>
            </a:r>
            <a:r>
              <a:rPr lang="en-US" b="1"/>
              <a:t>Review + create</a:t>
            </a:r>
            <a:r>
              <a:rPr lang="en-US"/>
              <a:t>. Other input fields in the Marketplace experience vary between publishers and offers. Each offer might collect different input based on </a:t>
            </a:r>
            <a:r>
              <a:rPr lang="en-US" err="1"/>
              <a:t>it's</a:t>
            </a:r>
            <a:r>
              <a:rPr lang="en-US"/>
              <a:t> needs.</a:t>
            </a:r>
            <a:endParaRPr lang="en-US">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fld id="{297A4B63-AD09-44DE-BEEC-F379281B23CC}" type="slidenum">
              <a:rPr lang="en-US" smtClean="0"/>
              <a:t>26</a:t>
            </a:fld>
            <a:endParaRPr lang="en-US"/>
          </a:p>
        </p:txBody>
      </p:sp>
    </p:spTree>
    <p:extLst>
      <p:ext uri="{BB962C8B-B14F-4D97-AF65-F5344CB8AC3E}">
        <p14:creationId xmlns:p14="http://schemas.microsoft.com/office/powerpoint/2010/main" val="160154158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Commercial marketplace sales channels - Training | Microsoft Learn</a:t>
            </a:r>
            <a:endParaRPr lang="en-US"/>
          </a:p>
          <a:p>
            <a:endParaRPr lang="en-US">
              <a:cs typeface="Calibri"/>
            </a:endParaRPr>
          </a:p>
        </p:txBody>
      </p:sp>
      <p:sp>
        <p:nvSpPr>
          <p:cNvPr id="4" name="Slide Number Placeholder 3"/>
          <p:cNvSpPr>
            <a:spLocks noGrp="1"/>
          </p:cNvSpPr>
          <p:nvPr>
            <p:ph type="sldNum" sz="quarter" idx="5"/>
          </p:nvPr>
        </p:nvSpPr>
        <p:spPr/>
        <p:txBody>
          <a:bodyPr/>
          <a:lstStyle/>
          <a:p>
            <a:fld id="{297A4B63-AD09-44DE-BEEC-F379281B23CC}" type="slidenum">
              <a:rPr lang="en-US" smtClean="0"/>
              <a:t>27</a:t>
            </a:fld>
            <a:endParaRPr lang="en-US"/>
          </a:p>
        </p:txBody>
      </p:sp>
    </p:spTree>
    <p:extLst>
      <p:ext uri="{BB962C8B-B14F-4D97-AF65-F5344CB8AC3E}">
        <p14:creationId xmlns:p14="http://schemas.microsoft.com/office/powerpoint/2010/main" val="158453975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Arial"/>
              <a:buChar char="•"/>
            </a:pPr>
            <a:r>
              <a:rPr lang="en-US"/>
              <a:t>Sign in to the Azure portal at </a:t>
            </a:r>
            <a:r>
              <a:rPr lang="en-US">
                <a:hlinkClick r:id="rId3"/>
              </a:rPr>
              <a:t>https://portal.azure.com</a:t>
            </a:r>
            <a:r>
              <a:rPr lang="en-US"/>
              <a:t>.</a:t>
            </a:r>
            <a:endParaRPr lang="en-US">
              <a:cs typeface="Calibri"/>
            </a:endParaRPr>
          </a:p>
          <a:p>
            <a:pPr>
              <a:buFont typeface="Arial"/>
              <a:buChar char="•"/>
            </a:pPr>
            <a:r>
              <a:rPr lang="en-US"/>
              <a:t>Under </a:t>
            </a:r>
            <a:r>
              <a:rPr lang="en-US" b="1"/>
              <a:t>Azure services</a:t>
            </a:r>
            <a:r>
              <a:rPr lang="en-US"/>
              <a:t>, select </a:t>
            </a:r>
            <a:r>
              <a:rPr lang="en-US" b="1"/>
              <a:t>+ Create a resource</a:t>
            </a:r>
            <a:r>
              <a:rPr lang="en-US"/>
              <a:t>.</a:t>
            </a:r>
          </a:p>
          <a:p>
            <a:pPr>
              <a:buFont typeface="Arial"/>
              <a:buChar char="•"/>
            </a:pPr>
            <a:r>
              <a:rPr lang="en-US"/>
              <a:t>In the upper-right of the page, next to </a:t>
            </a:r>
            <a:r>
              <a:rPr lang="en-US" b="1"/>
              <a:t>Popular Marketplace products</a:t>
            </a:r>
            <a:r>
              <a:rPr lang="en-US"/>
              <a:t>, select </a:t>
            </a:r>
            <a:r>
              <a:rPr lang="en-US" b="1"/>
              <a:t>See more in Marketplace</a:t>
            </a:r>
            <a:r>
              <a:rPr lang="en-US"/>
              <a:t>.</a:t>
            </a:r>
          </a:p>
          <a:p>
            <a:pPr>
              <a:buFont typeface="Arial"/>
              <a:buChar char="•"/>
            </a:pPr>
            <a:r>
              <a:rPr lang="en-US"/>
              <a:t>To filter the results on virtual machine offers, select the </a:t>
            </a:r>
            <a:r>
              <a:rPr lang="en-US" b="1"/>
              <a:t>Product Type</a:t>
            </a:r>
            <a:r>
              <a:rPr lang="en-US"/>
              <a:t> filter near the top of the page, and then select </a:t>
            </a:r>
            <a:r>
              <a:rPr lang="en-US" b="1"/>
              <a:t>Virtual Machine</a:t>
            </a:r>
            <a:r>
              <a:rPr lang="en-US"/>
              <a:t>.</a:t>
            </a:r>
            <a:endParaRPr lang="en-US">
              <a:cs typeface="Calibri"/>
            </a:endParaRPr>
          </a:p>
          <a:p>
            <a:pPr>
              <a:buFont typeface="Arial"/>
              <a:buChar char="•"/>
            </a:pPr>
            <a:r>
              <a:rPr lang="en-US"/>
              <a:t>You can optionally filter the results using the following filters.</a:t>
            </a:r>
          </a:p>
          <a:p>
            <a:pPr>
              <a:buFont typeface="Arial"/>
              <a:buChar char="•"/>
            </a:pPr>
            <a:r>
              <a:rPr lang="en-US" b="1"/>
              <a:t>Filter group</a:t>
            </a:r>
            <a:endParaRPr lang="en-US"/>
          </a:p>
          <a:p>
            <a:pPr>
              <a:buFont typeface="Arial"/>
              <a:buChar char="•"/>
            </a:pPr>
            <a:r>
              <a:rPr lang="en-US" b="1"/>
              <a:t>Description</a:t>
            </a:r>
            <a:endParaRPr lang="en-US"/>
          </a:p>
          <a:p>
            <a:pPr>
              <a:buFont typeface="Arial"/>
              <a:buChar char="•"/>
            </a:pPr>
            <a:r>
              <a:rPr lang="en-US"/>
              <a:t>Pricing</a:t>
            </a:r>
            <a:endParaRPr lang="en-US">
              <a:cs typeface="Calibri"/>
            </a:endParaRPr>
          </a:p>
          <a:p>
            <a:pPr>
              <a:buFont typeface="Arial"/>
              <a:buChar char="•"/>
            </a:pPr>
            <a:r>
              <a:rPr lang="en-US"/>
              <a:t>You can filter on the following:</a:t>
            </a:r>
            <a:br>
              <a:rPr lang="en-US">
                <a:cs typeface="+mn-lt"/>
              </a:rPr>
            </a:br>
            <a:r>
              <a:rPr lang="en-US"/>
              <a:t>Free – free plan, the software is provided with no additional cost, not including the cost associated with the VM instance type</a:t>
            </a:r>
            <a:br>
              <a:rPr lang="en-US">
                <a:cs typeface="+mn-lt"/>
              </a:rPr>
            </a:br>
            <a:r>
              <a:rPr lang="en-US"/>
              <a:t>Free trial - Azure virtual machine plans allow for 1, 3, or 6-month free trials, once the free trial is over the Pay as you Go price will be charged</a:t>
            </a:r>
            <a:br>
              <a:rPr lang="en-US">
                <a:cs typeface="+mn-lt"/>
              </a:rPr>
            </a:br>
            <a:r>
              <a:rPr lang="en-US"/>
              <a:t>Bring your own license – contact the publisher to get the license for using the software</a:t>
            </a:r>
            <a:br>
              <a:rPr lang="en-US">
                <a:cs typeface="+mn-lt"/>
              </a:rPr>
            </a:br>
            <a:r>
              <a:rPr lang="en-US"/>
              <a:t>Pay as you go - usage-based pricing model, can be charged per vCPU, per vCPU size, or per market (customer sold-to address) and vCPU size</a:t>
            </a:r>
            <a:endParaRPr lang="en-US">
              <a:cs typeface="Calibri"/>
            </a:endParaRPr>
          </a:p>
          <a:p>
            <a:pPr>
              <a:buFont typeface="Arial"/>
              <a:buChar char="•"/>
            </a:pPr>
            <a:r>
              <a:rPr lang="en-US"/>
              <a:t>Operating System</a:t>
            </a:r>
            <a:endParaRPr lang="en-US">
              <a:cs typeface="Calibri"/>
            </a:endParaRPr>
          </a:p>
          <a:p>
            <a:pPr>
              <a:buFont typeface="Arial"/>
              <a:buChar char="•"/>
            </a:pPr>
            <a:r>
              <a:rPr lang="en-US"/>
              <a:t>Filter by the OS the VM image is using</a:t>
            </a:r>
          </a:p>
          <a:p>
            <a:pPr>
              <a:buFont typeface="Arial"/>
              <a:buChar char="•"/>
            </a:pPr>
            <a:r>
              <a:rPr lang="en-US"/>
              <a:t>Publisher Type</a:t>
            </a:r>
            <a:endParaRPr lang="en-US">
              <a:cs typeface="Calibri"/>
            </a:endParaRPr>
          </a:p>
          <a:p>
            <a:pPr>
              <a:buFont typeface="Arial"/>
              <a:buChar char="•"/>
            </a:pPr>
            <a:r>
              <a:rPr lang="en-US"/>
              <a:t>Select Microsoft, Partners, or both</a:t>
            </a:r>
          </a:p>
          <a:p>
            <a:pPr>
              <a:buFont typeface="Arial"/>
              <a:buChar char="•"/>
            </a:pPr>
            <a:r>
              <a:rPr lang="en-US"/>
              <a:t>Publisher name</a:t>
            </a:r>
            <a:endParaRPr lang="en-US">
              <a:cs typeface="Calibri"/>
            </a:endParaRPr>
          </a:p>
          <a:p>
            <a:pPr>
              <a:buFont typeface="Arial"/>
              <a:buChar char="•"/>
            </a:pPr>
            <a:r>
              <a:rPr lang="en-US"/>
              <a:t>Filter the products based on the publisher's name</a:t>
            </a:r>
          </a:p>
          <a:p>
            <a:pPr>
              <a:buFont typeface="Arial"/>
              <a:buChar char="•"/>
            </a:pPr>
            <a:r>
              <a:rPr lang="en-US"/>
              <a:t>You can optionally select a category on the left-side of the page to further filter the results.</a:t>
            </a:r>
          </a:p>
          <a:p>
            <a:pPr>
              <a:buFont typeface="Arial"/>
              <a:buChar char="•"/>
            </a:pPr>
            <a:r>
              <a:rPr lang="en-US"/>
              <a:t>To see only offers that are eligible for the Azure benefit program, select the </a:t>
            </a:r>
            <a:r>
              <a:rPr lang="en-US" b="1"/>
              <a:t>Azure benefit eligible only</a:t>
            </a:r>
            <a:r>
              <a:rPr lang="en-US"/>
              <a:t> check box. To learn more about this benefit program, see </a:t>
            </a:r>
            <a:r>
              <a:rPr lang="en-US">
                <a:hlinkClick r:id="rId4"/>
              </a:rPr>
              <a:t>Azure consumption commitment benefit</a:t>
            </a:r>
            <a:r>
              <a:rPr lang="en-US"/>
              <a:t>.</a:t>
            </a:r>
            <a:endParaRPr lang="en-US">
              <a:cs typeface="Calibri"/>
            </a:endParaRPr>
          </a:p>
          <a:p>
            <a:pPr>
              <a:buFont typeface="Arial"/>
              <a:buChar char="•"/>
            </a:pPr>
            <a:r>
              <a:rPr lang="en-US"/>
              <a:t>Select the VM offer you want.</a:t>
            </a:r>
          </a:p>
          <a:p>
            <a:pPr>
              <a:buFont typeface="Arial"/>
              <a:buChar char="•"/>
            </a:pPr>
            <a:r>
              <a:rPr lang="en-US"/>
              <a:t>If the offer has more than one plan, you can see them on the </a:t>
            </a:r>
            <a:r>
              <a:rPr lang="en-US" b="1"/>
              <a:t>Plans + Pricing</a:t>
            </a:r>
            <a:r>
              <a:rPr lang="en-US"/>
              <a:t> tab.</a:t>
            </a:r>
            <a:endParaRPr lang="en-US">
              <a:cs typeface="Calibri"/>
            </a:endParaRPr>
          </a:p>
          <a:p>
            <a:pPr>
              <a:buFont typeface="Arial"/>
              <a:buChar char="•"/>
            </a:pPr>
            <a:r>
              <a:rPr lang="en-US"/>
              <a:t>Select </a:t>
            </a:r>
            <a:r>
              <a:rPr lang="en-US" b="1"/>
              <a:t>Create</a:t>
            </a:r>
            <a:r>
              <a:rPr lang="en-US"/>
              <a:t>. The </a:t>
            </a:r>
            <a:r>
              <a:rPr lang="en-US" b="1"/>
              <a:t>Create a virtual machine</a:t>
            </a:r>
            <a:r>
              <a:rPr lang="en-US"/>
              <a:t> page appears.</a:t>
            </a:r>
            <a:endParaRPr lang="en-US">
              <a:cs typeface="Calibri"/>
            </a:endParaRPr>
          </a:p>
          <a:p>
            <a:pPr>
              <a:buFont typeface="Arial"/>
              <a:buChar char="•"/>
            </a:pPr>
            <a:r>
              <a:rPr lang="en-US"/>
              <a:t>On the </a:t>
            </a:r>
            <a:r>
              <a:rPr lang="en-US" b="1"/>
              <a:t>Basics</a:t>
            </a:r>
            <a:r>
              <a:rPr lang="en-US"/>
              <a:t> tab, under </a:t>
            </a:r>
            <a:r>
              <a:rPr lang="en-US" b="1"/>
              <a:t>Project details</a:t>
            </a:r>
            <a:r>
              <a:rPr lang="en-US"/>
              <a:t>, make sure the subscription you want the VM for is selected. Then next to </a:t>
            </a:r>
            <a:r>
              <a:rPr lang="en-US" b="1"/>
              <a:t>Resource group</a:t>
            </a:r>
            <a:r>
              <a:rPr lang="en-US"/>
              <a:t>, do one of the following:</a:t>
            </a:r>
            <a:endParaRPr lang="en-US">
              <a:cs typeface="Calibri"/>
            </a:endParaRPr>
          </a:p>
          <a:p>
            <a:pPr lvl="1">
              <a:buFont typeface="Arial"/>
              <a:buChar char="•"/>
            </a:pPr>
            <a:r>
              <a:rPr lang="en-US"/>
              <a:t>From the </a:t>
            </a:r>
            <a:r>
              <a:rPr lang="en-US" b="1"/>
              <a:t>Resource group</a:t>
            </a:r>
            <a:r>
              <a:rPr lang="en-US"/>
              <a:t> list, select an existing resource group.</a:t>
            </a:r>
            <a:endParaRPr lang="en-US">
              <a:cs typeface="Calibri"/>
            </a:endParaRPr>
          </a:p>
          <a:p>
            <a:pPr lvl="1">
              <a:buFont typeface="Arial"/>
              <a:buChar char="•"/>
            </a:pPr>
            <a:r>
              <a:rPr lang="en-US"/>
              <a:t>Below the </a:t>
            </a:r>
            <a:r>
              <a:rPr lang="en-US" b="1"/>
              <a:t>Resource group</a:t>
            </a:r>
            <a:r>
              <a:rPr lang="en-US"/>
              <a:t> list, select </a:t>
            </a:r>
            <a:r>
              <a:rPr lang="en-US" b="1"/>
              <a:t>Create new</a:t>
            </a:r>
            <a:r>
              <a:rPr lang="en-US"/>
              <a:t>. Then, in the dialog box that appears, enter a name for the resource group and select </a:t>
            </a:r>
            <a:r>
              <a:rPr lang="en-US" b="1"/>
              <a:t>OK</a:t>
            </a:r>
            <a:r>
              <a:rPr lang="en-US"/>
              <a:t>.</a:t>
            </a:r>
            <a:endParaRPr lang="en-US">
              <a:cs typeface="Calibri"/>
            </a:endParaRPr>
          </a:p>
          <a:p>
            <a:pPr>
              <a:buFont typeface="Arial"/>
              <a:buChar char="•"/>
            </a:pPr>
            <a:r>
              <a:rPr lang="en-US"/>
              <a:t>Under </a:t>
            </a:r>
            <a:r>
              <a:rPr lang="en-US" b="1"/>
              <a:t>Instance details</a:t>
            </a:r>
            <a:r>
              <a:rPr lang="en-US"/>
              <a:t>, do the following:</a:t>
            </a:r>
            <a:endParaRPr lang="en-US">
              <a:cs typeface="Calibri"/>
            </a:endParaRPr>
          </a:p>
          <a:p>
            <a:pPr lvl="1">
              <a:buFont typeface="Arial"/>
              <a:buChar char="•"/>
            </a:pPr>
            <a:r>
              <a:rPr lang="en-US"/>
              <a:t>In the </a:t>
            </a:r>
            <a:r>
              <a:rPr lang="en-US" b="1"/>
              <a:t>Virtual machine</a:t>
            </a:r>
            <a:r>
              <a:rPr lang="en-US"/>
              <a:t> name box, enter the name you want for this VM.</a:t>
            </a:r>
            <a:endParaRPr lang="en-US">
              <a:cs typeface="Calibri"/>
            </a:endParaRPr>
          </a:p>
          <a:p>
            <a:pPr lvl="1">
              <a:buFont typeface="Arial"/>
              <a:buChar char="•"/>
            </a:pPr>
            <a:r>
              <a:rPr lang="en-US"/>
              <a:t>From the </a:t>
            </a:r>
            <a:r>
              <a:rPr lang="en-US" b="1"/>
              <a:t>Region</a:t>
            </a:r>
            <a:r>
              <a:rPr lang="en-US"/>
              <a:t> list, choose the region you want.</a:t>
            </a:r>
            <a:endParaRPr lang="en-US">
              <a:cs typeface="Calibri"/>
            </a:endParaRPr>
          </a:p>
          <a:p>
            <a:pPr lvl="1">
              <a:buFont typeface="Arial"/>
              <a:buChar char="•"/>
            </a:pPr>
            <a:r>
              <a:rPr lang="en-US"/>
              <a:t>From the </a:t>
            </a:r>
            <a:r>
              <a:rPr lang="en-US" b="1"/>
              <a:t>Size</a:t>
            </a:r>
            <a:r>
              <a:rPr lang="en-US"/>
              <a:t> list, select the VM size you want.</a:t>
            </a:r>
            <a:endParaRPr lang="en-US">
              <a:cs typeface="Calibri"/>
            </a:endParaRPr>
          </a:p>
          <a:p>
            <a:pPr>
              <a:buFont typeface="Arial"/>
              <a:buChar char="•"/>
            </a:pPr>
            <a:r>
              <a:rPr lang="en-US"/>
              <a:t>Complete the remaining fields on the page. Then select </a:t>
            </a:r>
            <a:r>
              <a:rPr lang="en-US" b="1"/>
              <a:t>Review + create</a:t>
            </a:r>
            <a:r>
              <a:rPr lang="en-US"/>
              <a:t>.</a:t>
            </a:r>
            <a:endParaRPr lang="en-US">
              <a:cs typeface="Calibri"/>
            </a:endParaRPr>
          </a:p>
          <a:p>
            <a:pPr>
              <a:buFont typeface="Arial"/>
              <a:buChar char="•"/>
            </a:pPr>
            <a:r>
              <a:rPr lang="en-US" b="1"/>
              <a:t>Purchase a VM using search</a:t>
            </a:r>
            <a:endParaRPr lang="en-US"/>
          </a:p>
          <a:p>
            <a:pPr>
              <a:buFont typeface="Arial"/>
              <a:buChar char="•"/>
            </a:pPr>
            <a:r>
              <a:rPr lang="en-US"/>
              <a:t>Sign in to the Azure portal at </a:t>
            </a:r>
            <a:r>
              <a:rPr lang="en-US">
                <a:hlinkClick r:id="rId3"/>
              </a:rPr>
              <a:t>https://portal.azure.com</a:t>
            </a:r>
            <a:r>
              <a:rPr lang="en-US"/>
              <a:t>.</a:t>
            </a:r>
            <a:endParaRPr lang="en-US">
              <a:cs typeface="Calibri"/>
            </a:endParaRPr>
          </a:p>
          <a:p>
            <a:pPr>
              <a:buFont typeface="Arial"/>
              <a:buChar char="•"/>
            </a:pPr>
            <a:r>
              <a:rPr lang="en-US"/>
              <a:t>In the search box, enter </a:t>
            </a:r>
            <a:r>
              <a:rPr lang="en-US" b="1"/>
              <a:t>virtual machines</a:t>
            </a:r>
            <a:r>
              <a:rPr lang="en-US"/>
              <a:t>.</a:t>
            </a:r>
            <a:endParaRPr lang="en-US">
              <a:cs typeface="Calibri"/>
            </a:endParaRPr>
          </a:p>
          <a:p>
            <a:pPr>
              <a:buFont typeface="Arial"/>
              <a:buChar char="•"/>
            </a:pPr>
            <a:r>
              <a:rPr lang="en-US"/>
              <a:t>Under </a:t>
            </a:r>
            <a:r>
              <a:rPr lang="en-US" b="1"/>
              <a:t>Services</a:t>
            </a:r>
            <a:r>
              <a:rPr lang="en-US"/>
              <a:t>, select </a:t>
            </a:r>
            <a:r>
              <a:rPr lang="en-US" b="1"/>
              <a:t>Virtual machines</a:t>
            </a:r>
            <a:r>
              <a:rPr lang="en-US"/>
              <a:t>.</a:t>
            </a:r>
            <a:endParaRPr lang="en-US">
              <a:cs typeface="Calibri"/>
            </a:endParaRPr>
          </a:p>
          <a:p>
            <a:pPr>
              <a:buFont typeface="Arial"/>
              <a:buChar char="•"/>
            </a:pPr>
            <a:r>
              <a:rPr lang="en-US"/>
              <a:t>On the </a:t>
            </a:r>
            <a:r>
              <a:rPr lang="en-US" b="1"/>
              <a:t>Virtual machines</a:t>
            </a:r>
            <a:r>
              <a:rPr lang="en-US"/>
              <a:t> page, select </a:t>
            </a:r>
            <a:r>
              <a:rPr lang="en-US" b="1"/>
              <a:t>+ Create</a:t>
            </a:r>
            <a:r>
              <a:rPr lang="en-US"/>
              <a:t> &gt; </a:t>
            </a:r>
            <a:r>
              <a:rPr lang="en-US" b="1"/>
              <a:t>+ Virtual machine</a:t>
            </a:r>
            <a:r>
              <a:rPr lang="en-US"/>
              <a:t>. The </a:t>
            </a:r>
            <a:r>
              <a:rPr lang="en-US" b="1"/>
              <a:t>Create a virtual machine</a:t>
            </a:r>
            <a:r>
              <a:rPr lang="en-US"/>
              <a:t> page appears.</a:t>
            </a:r>
          </a:p>
          <a:p>
            <a:pPr>
              <a:buFont typeface="Arial"/>
              <a:buChar char="•"/>
            </a:pPr>
            <a:r>
              <a:rPr lang="en-US"/>
              <a:t>On the </a:t>
            </a:r>
            <a:r>
              <a:rPr lang="en-US" b="1"/>
              <a:t>Basics</a:t>
            </a:r>
            <a:r>
              <a:rPr lang="en-US"/>
              <a:t> tab, under </a:t>
            </a:r>
            <a:r>
              <a:rPr lang="en-US" b="1"/>
              <a:t>Project details</a:t>
            </a:r>
            <a:r>
              <a:rPr lang="en-US"/>
              <a:t>, make sure the subscription you want the VM for is selected. Then next to </a:t>
            </a:r>
            <a:r>
              <a:rPr lang="en-US" b="1"/>
              <a:t>Resource group</a:t>
            </a:r>
            <a:r>
              <a:rPr lang="en-US"/>
              <a:t>, do one of the following:</a:t>
            </a:r>
          </a:p>
          <a:p>
            <a:pPr lvl="1">
              <a:buFont typeface="Arial"/>
              <a:buChar char="•"/>
            </a:pPr>
            <a:r>
              <a:rPr lang="en-US"/>
              <a:t>From the </a:t>
            </a:r>
            <a:r>
              <a:rPr lang="en-US" b="1"/>
              <a:t>Resource group</a:t>
            </a:r>
            <a:r>
              <a:rPr lang="en-US"/>
              <a:t> list, select an existing resource group.</a:t>
            </a:r>
          </a:p>
          <a:p>
            <a:pPr lvl="1">
              <a:buFont typeface="Arial"/>
              <a:buChar char="•"/>
            </a:pPr>
            <a:r>
              <a:rPr lang="en-US"/>
              <a:t>Below the </a:t>
            </a:r>
            <a:r>
              <a:rPr lang="en-US" b="1"/>
              <a:t>Resource group</a:t>
            </a:r>
            <a:r>
              <a:rPr lang="en-US"/>
              <a:t> list, select </a:t>
            </a:r>
            <a:r>
              <a:rPr lang="en-US" b="1"/>
              <a:t>Create new</a:t>
            </a:r>
            <a:r>
              <a:rPr lang="en-US"/>
              <a:t>. Then, in the dialog box that appears, enter a name for the resource group and select </a:t>
            </a:r>
            <a:r>
              <a:rPr lang="en-US" b="1"/>
              <a:t>OK</a:t>
            </a:r>
            <a:r>
              <a:rPr lang="en-US"/>
              <a:t>.</a:t>
            </a:r>
          </a:p>
          <a:p>
            <a:pPr>
              <a:buFont typeface="Arial"/>
              <a:buChar char="•"/>
            </a:pPr>
            <a:r>
              <a:rPr lang="en-US"/>
              <a:t>Under </a:t>
            </a:r>
            <a:r>
              <a:rPr lang="en-US" b="1"/>
              <a:t>Instance details</a:t>
            </a:r>
            <a:r>
              <a:rPr lang="en-US"/>
              <a:t>, do the following:</a:t>
            </a:r>
          </a:p>
          <a:p>
            <a:pPr lvl="1">
              <a:buFont typeface="Arial"/>
              <a:buChar char="•"/>
            </a:pPr>
            <a:r>
              <a:rPr lang="en-US"/>
              <a:t>In the </a:t>
            </a:r>
            <a:r>
              <a:rPr lang="en-US" b="1"/>
              <a:t>Virtual machine</a:t>
            </a:r>
            <a:r>
              <a:rPr lang="en-US"/>
              <a:t> name box, enter the name you want for this VM.</a:t>
            </a:r>
          </a:p>
          <a:p>
            <a:pPr lvl="1">
              <a:buFont typeface="Arial"/>
              <a:buChar char="•"/>
            </a:pPr>
            <a:r>
              <a:rPr lang="en-US"/>
              <a:t>From the </a:t>
            </a:r>
            <a:r>
              <a:rPr lang="en-US" b="1"/>
              <a:t>Region</a:t>
            </a:r>
            <a:r>
              <a:rPr lang="en-US"/>
              <a:t> list, choose the region you want.</a:t>
            </a:r>
          </a:p>
          <a:p>
            <a:pPr>
              <a:buFont typeface="Arial"/>
              <a:buChar char="•"/>
            </a:pPr>
            <a:r>
              <a:rPr lang="en-US"/>
              <a:t>The </a:t>
            </a:r>
            <a:r>
              <a:rPr lang="en-US" b="1"/>
              <a:t>Image</a:t>
            </a:r>
            <a:r>
              <a:rPr lang="en-US"/>
              <a:t> list holds recently used images and Marketplace images to help you get started. Do one of the following:</a:t>
            </a:r>
          </a:p>
          <a:p>
            <a:pPr lvl="1">
              <a:buFont typeface="Arial"/>
              <a:buChar char="•"/>
            </a:pPr>
            <a:r>
              <a:rPr lang="en-US"/>
              <a:t>Select a VM image from the </a:t>
            </a:r>
            <a:r>
              <a:rPr lang="en-US" b="1"/>
              <a:t>Image</a:t>
            </a:r>
            <a:r>
              <a:rPr lang="en-US"/>
              <a:t> list. Complete the fields and then go to step 12.</a:t>
            </a:r>
          </a:p>
          <a:p>
            <a:pPr lvl="1">
              <a:buFont typeface="Arial"/>
              <a:buChar char="•"/>
            </a:pPr>
            <a:r>
              <a:rPr lang="en-US"/>
              <a:t>Below the </a:t>
            </a:r>
            <a:r>
              <a:rPr lang="en-US" b="1"/>
              <a:t>Image</a:t>
            </a:r>
            <a:r>
              <a:rPr lang="en-US"/>
              <a:t> list, select </a:t>
            </a:r>
            <a:r>
              <a:rPr lang="en-US" b="1"/>
              <a:t>See all images</a:t>
            </a:r>
            <a:r>
              <a:rPr lang="en-US"/>
              <a:t> to open the Marketplace experience.</a:t>
            </a:r>
          </a:p>
          <a:p>
            <a:pPr>
              <a:buFont typeface="Arial"/>
              <a:buChar char="•"/>
            </a:pPr>
            <a:r>
              <a:rPr lang="en-US"/>
              <a:t>You can use the left-nav to help you find the VM you're looking for. The left-nav has the following sections:</a:t>
            </a:r>
          </a:p>
          <a:p>
            <a:pPr lvl="1">
              <a:buFont typeface="Arial"/>
              <a:buChar char="•"/>
            </a:pPr>
            <a:r>
              <a:rPr lang="en-US" b="1"/>
              <a:t>My Items</a:t>
            </a:r>
            <a:r>
              <a:rPr lang="en-US"/>
              <a:t> – VM images created by you or shared with you. To learn more, see </a:t>
            </a:r>
            <a:r>
              <a:rPr lang="en-US">
                <a:hlinkClick r:id="rId5"/>
              </a:rPr>
              <a:t>Store and share images in an Azure Compute Gallery</a:t>
            </a:r>
            <a:r>
              <a:rPr lang="en-US"/>
              <a:t>.</a:t>
            </a:r>
          </a:p>
          <a:p>
            <a:pPr lvl="1">
              <a:buFont typeface="Arial"/>
              <a:buChar char="•"/>
            </a:pPr>
            <a:r>
              <a:rPr lang="en-US" b="1"/>
              <a:t>Marketplace</a:t>
            </a:r>
            <a:r>
              <a:rPr lang="en-US"/>
              <a:t> – Recently created products and </a:t>
            </a:r>
            <a:r>
              <a:rPr lang="en-US">
                <a:hlinkClick r:id="rId6"/>
              </a:rPr>
              <a:t>Marketplace Private products</a:t>
            </a:r>
            <a:r>
              <a:rPr lang="en-US"/>
              <a:t>.</a:t>
            </a:r>
          </a:p>
          <a:p>
            <a:pPr lvl="1">
              <a:buFont typeface="Arial"/>
              <a:buChar char="•"/>
            </a:pPr>
            <a:r>
              <a:rPr lang="en-US" b="1"/>
              <a:t>Categories</a:t>
            </a:r>
            <a:r>
              <a:rPr lang="en-US"/>
              <a:t> – You can filter Marketplace products by category.</a:t>
            </a:r>
          </a:p>
          <a:p>
            <a:pPr lvl="1">
              <a:buFont typeface="Arial"/>
              <a:buChar char="•"/>
            </a:pPr>
            <a:r>
              <a:rPr lang="en-US" b="1"/>
              <a:t>My Images</a:t>
            </a:r>
            <a:r>
              <a:rPr lang="en-US"/>
              <a:t> - To access VM images created by you.</a:t>
            </a:r>
          </a:p>
          <a:p>
            <a:pPr lvl="1">
              <a:buFont typeface="Arial"/>
              <a:buChar char="•"/>
            </a:pPr>
            <a:r>
              <a:rPr lang="en-US" b="1"/>
              <a:t>Shared Images</a:t>
            </a:r>
            <a:r>
              <a:rPr lang="en-US"/>
              <a:t> - To access VM images shared with you. To learn more, see </a:t>
            </a:r>
            <a:r>
              <a:rPr lang="en-US">
                <a:hlinkClick r:id="rId5"/>
              </a:rPr>
              <a:t>Store and share images in an Azure Compute Gallery</a:t>
            </a:r>
            <a:r>
              <a:rPr lang="en-US"/>
              <a:t>.</a:t>
            </a:r>
          </a:p>
          <a:p>
            <a:pPr lvl="1">
              <a:buFont typeface="Arial"/>
              <a:buChar char="•"/>
            </a:pPr>
            <a:r>
              <a:rPr lang="en-US" b="1"/>
              <a:t>Community Images (PREVIEW)</a:t>
            </a:r>
            <a:r>
              <a:rPr lang="en-US"/>
              <a:t> - To access VM images shared by an Azure subscription owner within their Azure subscription.</a:t>
            </a:r>
          </a:p>
          <a:p>
            <a:pPr marL="285750" indent="-285750">
              <a:buFont typeface="Arial"/>
              <a:buChar char="•"/>
            </a:pPr>
            <a:endParaRPr lang="en-US">
              <a:cs typeface="Calibri"/>
            </a:endParaRPr>
          </a:p>
        </p:txBody>
      </p:sp>
      <p:sp>
        <p:nvSpPr>
          <p:cNvPr id="4" name="Slide Number Placeholder 3"/>
          <p:cNvSpPr>
            <a:spLocks noGrp="1"/>
          </p:cNvSpPr>
          <p:nvPr>
            <p:ph type="sldNum" sz="quarter" idx="5"/>
          </p:nvPr>
        </p:nvSpPr>
        <p:spPr/>
        <p:txBody>
          <a:bodyPr/>
          <a:lstStyle/>
          <a:p>
            <a:fld id="{297A4B63-AD09-44DE-BEEC-F379281B23CC}" type="slidenum">
              <a:rPr lang="en-US" smtClean="0"/>
              <a:t>28</a:t>
            </a:fld>
            <a:endParaRPr lang="en-US"/>
          </a:p>
        </p:txBody>
      </p:sp>
    </p:spTree>
    <p:extLst>
      <p:ext uri="{BB962C8B-B14F-4D97-AF65-F5344CB8AC3E}">
        <p14:creationId xmlns:p14="http://schemas.microsoft.com/office/powerpoint/2010/main" val="90490882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learn.microsoft.com/en-us/marketplace/private-offers-in-azure-marketplace</a:t>
            </a:r>
          </a:p>
        </p:txBody>
      </p:sp>
      <p:sp>
        <p:nvSpPr>
          <p:cNvPr id="4" name="Slide Number Placeholder 3"/>
          <p:cNvSpPr>
            <a:spLocks noGrp="1"/>
          </p:cNvSpPr>
          <p:nvPr>
            <p:ph type="sldNum" sz="quarter" idx="5"/>
          </p:nvPr>
        </p:nvSpPr>
        <p:spPr/>
        <p:txBody>
          <a:bodyPr/>
          <a:lstStyle/>
          <a:p>
            <a:fld id="{297A4B63-AD09-44DE-BEEC-F379281B23CC}" type="slidenum">
              <a:rPr lang="en-US" smtClean="0"/>
              <a:t>31</a:t>
            </a:fld>
            <a:endParaRPr lang="en-US"/>
          </a:p>
        </p:txBody>
      </p:sp>
    </p:spTree>
    <p:extLst>
      <p:ext uri="{BB962C8B-B14F-4D97-AF65-F5344CB8AC3E}">
        <p14:creationId xmlns:p14="http://schemas.microsoft.com/office/powerpoint/2010/main" val="39065400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ere are the steps you take to purchase a SaaS offer:</a:t>
            </a:r>
          </a:p>
          <a:p>
            <a:pPr marL="285750" indent="-285750">
              <a:buFont typeface="Arial"/>
              <a:buChar char="•"/>
            </a:pPr>
            <a:r>
              <a:rPr lang="en-US"/>
              <a:t>On the product page, select a plan that meets your needs, and then select </a:t>
            </a:r>
            <a:r>
              <a:rPr lang="en-US" b="1"/>
              <a:t>Set up + subscribe</a:t>
            </a:r>
            <a:r>
              <a:rPr lang="en-US"/>
              <a:t>.</a:t>
            </a:r>
          </a:p>
          <a:p>
            <a:pPr marL="285750" indent="-285750">
              <a:buFont typeface="Arial"/>
              <a:buChar char="•"/>
            </a:pPr>
            <a:r>
              <a:rPr lang="en-US"/>
              <a:t>You're redirected to the </a:t>
            </a:r>
            <a:r>
              <a:rPr lang="en-US" b="1"/>
              <a:t>Basics</a:t>
            </a:r>
            <a:r>
              <a:rPr lang="en-US"/>
              <a:t> tab, where you:</a:t>
            </a:r>
            <a:endParaRPr lang="en-US">
              <a:cs typeface="Calibri"/>
            </a:endParaRPr>
          </a:p>
          <a:p>
            <a:pPr marL="285750" lvl="1" indent="-285750">
              <a:buFont typeface="Arial"/>
              <a:buChar char="•"/>
            </a:pPr>
            <a:r>
              <a:rPr lang="en-US"/>
              <a:t>Define which subscription you want to use for billing. The Azure subscription that you use should have a valid purchase method defined for it. You should have the right level of permissions, or have a resource group under that subscription with the right level of permissions. The billing country/region of the subscription should be a country/region where the offer is available for purchase. Azure subscriptions without a valid payment method (for example, an MSDN subscription) can only be used to purchase free plans.</a:t>
            </a:r>
          </a:p>
          <a:p>
            <a:pPr lvl="1"/>
            <a:r>
              <a:rPr lang="en-US" b="1"/>
              <a:t> Note</a:t>
            </a:r>
            <a:endParaRPr lang="en-US"/>
          </a:p>
          <a:p>
            <a:pPr lvl="1"/>
            <a:r>
              <a:rPr lang="en-US"/>
              <a:t>The following Azure subscriptions can't be used to purchase SaaS: Student, Visual Studio Enterprise, or Free credit.</a:t>
            </a:r>
          </a:p>
          <a:p>
            <a:pPr marL="342900" lvl="1" indent="-342900">
              <a:buChar char="•"/>
            </a:pPr>
            <a:r>
              <a:rPr lang="en-US"/>
              <a:t>Choose or create a resource group to hold the SaaS application.</a:t>
            </a:r>
          </a:p>
          <a:p>
            <a:pPr marL="342900" lvl="1" indent="-342900">
              <a:buChar char="•"/>
            </a:pPr>
            <a:r>
              <a:rPr lang="en-US"/>
              <a:t>Type a name for the SaaS subscription, to easily identify it later. You can't change this name after you have purchased the SaaS subscription.</a:t>
            </a:r>
          </a:p>
          <a:p>
            <a:pPr marL="342900" lvl="1" indent="-342900">
              <a:buChar char="•"/>
            </a:pPr>
            <a:r>
              <a:rPr lang="en-US"/>
              <a:t>Under </a:t>
            </a:r>
            <a:r>
              <a:rPr lang="en-US" b="1"/>
              <a:t>Plan</a:t>
            </a:r>
            <a:r>
              <a:rPr lang="en-US"/>
              <a:t>, you'll see the plan you selected in the product details page (PDP). If you haven't made an active selection in the PDP, you'll see the default plan. You can change your selection by selecting the </a:t>
            </a:r>
            <a:r>
              <a:rPr lang="en-US" b="1"/>
              <a:t>Change plan</a:t>
            </a:r>
            <a:r>
              <a:rPr lang="en-US"/>
              <a:t> link. Then select the plan and billing term you want.</a:t>
            </a:r>
            <a:endParaRPr lang="en-US">
              <a:cs typeface="Calibri"/>
            </a:endParaRPr>
          </a:p>
          <a:p>
            <a:pPr lvl="1"/>
            <a:r>
              <a:rPr lang="en-US" b="1"/>
              <a:t> Note</a:t>
            </a:r>
            <a:endParaRPr lang="en-US"/>
          </a:p>
          <a:p>
            <a:pPr lvl="1"/>
            <a:r>
              <a:rPr lang="en-US"/>
              <a:t>You can only change to another plan that has the same billing term and payment option. For more information, see </a:t>
            </a:r>
            <a:r>
              <a:rPr lang="en-US" b="1">
                <a:hlinkClick r:id="rId3"/>
              </a:rPr>
              <a:t>SaaS subscription lifecycle management</a:t>
            </a:r>
            <a:r>
              <a:rPr lang="en-US"/>
              <a:t>.</a:t>
            </a:r>
            <a:endParaRPr lang="en-US">
              <a:cs typeface="Calibri"/>
            </a:endParaRPr>
          </a:p>
          <a:p>
            <a:pPr marL="342900" lvl="1" indent="-342900">
              <a:buChar char="•"/>
            </a:pPr>
            <a:r>
              <a:rPr lang="en-US"/>
              <a:t>In cases where the pricing model is per user, you'll be required to specify the number of users. The price that you see will change based on the subscription, plan, term, and payment frequency that you've selected.</a:t>
            </a:r>
          </a:p>
          <a:p>
            <a:pPr marL="285750" indent="-285750">
              <a:buFont typeface="Arial"/>
              <a:buChar char="•"/>
            </a:pPr>
            <a:r>
              <a:rPr lang="en-US"/>
              <a:t>Proceed to the </a:t>
            </a:r>
            <a:r>
              <a:rPr lang="en-US" b="1"/>
              <a:t>Tags</a:t>
            </a:r>
            <a:r>
              <a:rPr lang="en-US"/>
              <a:t> tab. </a:t>
            </a:r>
            <a:r>
              <a:rPr lang="en-US" i="1"/>
              <a:t>Tags</a:t>
            </a:r>
            <a:r>
              <a:rPr lang="en-US"/>
              <a:t> are key/value pairs that you can define. You place tags directly on a resource or a resource group, which helps you find your SaaS resource later on. Azure currently supports up to 50 tags per resource and resource group. Place tags on a resource at the time of creation, or add them to an existing resource.</a:t>
            </a:r>
          </a:p>
          <a:p>
            <a:pPr marL="285750" indent="-285750">
              <a:buFont typeface="Arial"/>
              <a:buChar char="•"/>
            </a:pPr>
            <a:r>
              <a:rPr lang="en-US"/>
              <a:t>Continue to </a:t>
            </a:r>
            <a:r>
              <a:rPr lang="en-US" b="1"/>
              <a:t>Review + Subscribe</a:t>
            </a:r>
            <a:r>
              <a:rPr lang="en-US"/>
              <a:t> to go through the offer and plan details.</a:t>
            </a:r>
          </a:p>
          <a:p>
            <a:pPr marL="285750" lvl="1" indent="-285750">
              <a:buFont typeface="Arial"/>
              <a:buChar char="•"/>
            </a:pPr>
            <a:r>
              <a:rPr lang="en-US"/>
              <a:t>Review the terms of use, amendments, and privacy policy of the publisher, and also Azure Marketplace.</a:t>
            </a:r>
          </a:p>
          <a:p>
            <a:pPr marL="285750" lvl="1" indent="-285750">
              <a:buFont typeface="Arial"/>
              <a:buChar char="•"/>
            </a:pPr>
            <a:r>
              <a:rPr lang="en-US"/>
              <a:t>You might be asked to add your contact details.</a:t>
            </a:r>
          </a:p>
          <a:p>
            <a:pPr marL="285750" lvl="1" indent="-285750">
              <a:buFont typeface="Arial"/>
              <a:buChar char="•"/>
            </a:pPr>
            <a:r>
              <a:rPr lang="en-US"/>
              <a:t>Review details for </a:t>
            </a:r>
            <a:r>
              <a:rPr lang="en-US" b="1"/>
              <a:t>Basics</a:t>
            </a:r>
            <a:r>
              <a:rPr lang="en-US"/>
              <a:t> and </a:t>
            </a:r>
            <a:r>
              <a:rPr lang="en-US" b="1"/>
              <a:t>Tags</a:t>
            </a:r>
            <a:r>
              <a:rPr lang="en-US"/>
              <a:t>.</a:t>
            </a:r>
          </a:p>
          <a:p>
            <a:pPr marL="285750" indent="-285750">
              <a:buFont typeface="Arial"/>
              <a:buChar char="•"/>
            </a:pPr>
            <a:r>
              <a:rPr lang="en-US"/>
              <a:t>Upon confirmation, select </a:t>
            </a:r>
            <a:r>
              <a:rPr lang="en-US" b="1"/>
              <a:t>Subscribe</a:t>
            </a:r>
            <a:r>
              <a:rPr lang="en-US"/>
              <a:t>.</a:t>
            </a:r>
          </a:p>
          <a:p>
            <a:endParaRPr lang="en-US">
              <a:cs typeface="Calibri"/>
            </a:endParaRPr>
          </a:p>
        </p:txBody>
      </p:sp>
      <p:sp>
        <p:nvSpPr>
          <p:cNvPr id="4" name="Slide Number Placeholder 3"/>
          <p:cNvSpPr>
            <a:spLocks noGrp="1"/>
          </p:cNvSpPr>
          <p:nvPr>
            <p:ph type="sldNum" sz="quarter" idx="5"/>
          </p:nvPr>
        </p:nvSpPr>
        <p:spPr/>
        <p:txBody>
          <a:bodyPr/>
          <a:lstStyle/>
          <a:p>
            <a:fld id="{297A4B63-AD09-44DE-BEEC-F379281B23CC}" type="slidenum">
              <a:rPr lang="en-US" smtClean="0"/>
              <a:t>33</a:t>
            </a:fld>
            <a:endParaRPr lang="en-US"/>
          </a:p>
        </p:txBody>
      </p:sp>
    </p:spTree>
    <p:extLst>
      <p:ext uri="{BB962C8B-B14F-4D97-AF65-F5344CB8AC3E}">
        <p14:creationId xmlns:p14="http://schemas.microsoft.com/office/powerpoint/2010/main" val="17824646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D48D4D-A873-47E7-80D2-BACB8E08A8E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36587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Programmatic deployment of Marketplace products - Microsoft marketplace | Microsoft Learn</a:t>
            </a:r>
            <a:endParaRPr lang="en-US"/>
          </a:p>
        </p:txBody>
      </p:sp>
      <p:sp>
        <p:nvSpPr>
          <p:cNvPr id="4" name="Slide Number Placeholder 3"/>
          <p:cNvSpPr>
            <a:spLocks noGrp="1"/>
          </p:cNvSpPr>
          <p:nvPr>
            <p:ph type="sldNum" sz="quarter" idx="5"/>
          </p:nvPr>
        </p:nvSpPr>
        <p:spPr/>
        <p:txBody>
          <a:bodyPr/>
          <a:lstStyle/>
          <a:p>
            <a:fld id="{297A4B63-AD09-44DE-BEEC-F379281B23CC}" type="slidenum">
              <a:rPr lang="en-US" smtClean="0"/>
              <a:t>34</a:t>
            </a:fld>
            <a:endParaRPr lang="en-US"/>
          </a:p>
        </p:txBody>
      </p:sp>
    </p:spTree>
    <p:extLst>
      <p:ext uri="{BB962C8B-B14F-4D97-AF65-F5344CB8AC3E}">
        <p14:creationId xmlns:p14="http://schemas.microsoft.com/office/powerpoint/2010/main" val="255692054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Software as a Service (SaaS) subscription lifecycle management - Microsoft marketplace | Microsoft Learn</a:t>
            </a:r>
            <a:endParaRPr lang="en-US"/>
          </a:p>
        </p:txBody>
      </p:sp>
      <p:sp>
        <p:nvSpPr>
          <p:cNvPr id="4" name="Slide Number Placeholder 3"/>
          <p:cNvSpPr>
            <a:spLocks noGrp="1"/>
          </p:cNvSpPr>
          <p:nvPr>
            <p:ph type="sldNum" sz="quarter" idx="5"/>
          </p:nvPr>
        </p:nvSpPr>
        <p:spPr/>
        <p:txBody>
          <a:bodyPr/>
          <a:lstStyle/>
          <a:p>
            <a:fld id="{297A4B63-AD09-44DE-BEEC-F379281B23CC}" type="slidenum">
              <a:rPr lang="en-US" smtClean="0"/>
              <a:t>35</a:t>
            </a:fld>
            <a:endParaRPr lang="en-US"/>
          </a:p>
        </p:txBody>
      </p:sp>
    </p:spTree>
    <p:extLst>
      <p:ext uri="{BB962C8B-B14F-4D97-AF65-F5344CB8AC3E}">
        <p14:creationId xmlns:p14="http://schemas.microsoft.com/office/powerpoint/2010/main" val="407724002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a:solidFill>
                <a:srgbClr val="000000"/>
              </a:solidFill>
              <a:effectLst/>
              <a:latin typeface="Consolas" panose="020B0609020204030204" pitchFamily="49" charset="0"/>
            </a:endParaRPr>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507DC7E-BC41-4478-BA30-CBCC3A644F0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5262319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a:solidFill>
                <a:srgbClr val="000000"/>
              </a:solidFill>
              <a:effectLst/>
              <a:latin typeface="Times New Roman"/>
              <a:ea typeface="Calibri" panose="020F0502020204030204" pitchFamily="34" charset="0"/>
              <a:cs typeface="Times New Roman"/>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86899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a:solidFill>
                <a:srgbClr val="000000"/>
              </a:solidFill>
              <a:effectLst/>
              <a:latin typeface="Times New Roman" panose="02020603050405020304" pitchFamily="18" charset="0"/>
              <a:cs typeface="Times New Roman"/>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777225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Configure how users consent to applications - Microsoft Entra | Microsoft Learn</a:t>
            </a:r>
          </a:p>
          <a:p>
            <a:r>
              <a:rPr lang="en-US">
                <a:hlinkClick r:id="rId4"/>
              </a:rPr>
              <a:t>Procurement playbook - How to drive custom deals on Azure Marketplace - Microsoft marketplace | Microsoft Learn</a:t>
            </a:r>
            <a:endParaRPr lang="en-US"/>
          </a:p>
        </p:txBody>
      </p:sp>
      <p:sp>
        <p:nvSpPr>
          <p:cNvPr id="4" name="Slide Number Placeholder 3"/>
          <p:cNvSpPr>
            <a:spLocks noGrp="1"/>
          </p:cNvSpPr>
          <p:nvPr>
            <p:ph type="sldNum" sz="quarter" idx="5"/>
          </p:nvPr>
        </p:nvSpPr>
        <p:spPr/>
        <p:txBody>
          <a:bodyPr/>
          <a:lstStyle/>
          <a:p>
            <a:fld id="{297A4B63-AD09-44DE-BEEC-F379281B23CC}" type="slidenum">
              <a:rPr lang="en-US" smtClean="0"/>
              <a:t>43</a:t>
            </a:fld>
            <a:endParaRPr lang="en-US"/>
          </a:p>
        </p:txBody>
      </p:sp>
    </p:spTree>
    <p:extLst>
      <p:ext uri="{BB962C8B-B14F-4D97-AF65-F5344CB8AC3E}">
        <p14:creationId xmlns:p14="http://schemas.microsoft.com/office/powerpoint/2010/main" val="339342680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Configure how users consent to applications - Microsoft Entra | Microsoft Learn</a:t>
            </a:r>
            <a:endParaRPr lang="en-US"/>
          </a:p>
        </p:txBody>
      </p:sp>
      <p:sp>
        <p:nvSpPr>
          <p:cNvPr id="4" name="Slide Number Placeholder 3"/>
          <p:cNvSpPr>
            <a:spLocks noGrp="1"/>
          </p:cNvSpPr>
          <p:nvPr>
            <p:ph type="sldNum" sz="quarter" idx="5"/>
          </p:nvPr>
        </p:nvSpPr>
        <p:spPr/>
        <p:txBody>
          <a:bodyPr/>
          <a:lstStyle/>
          <a:p>
            <a:fld id="{297A4B63-AD09-44DE-BEEC-F379281B23CC}" type="slidenum">
              <a:rPr lang="en-US" smtClean="0"/>
              <a:t>44</a:t>
            </a:fld>
            <a:endParaRPr lang="en-US"/>
          </a:p>
        </p:txBody>
      </p:sp>
    </p:spTree>
    <p:extLst>
      <p:ext uri="{BB962C8B-B14F-4D97-AF65-F5344CB8AC3E}">
        <p14:creationId xmlns:p14="http://schemas.microsoft.com/office/powerpoint/2010/main" val="210135192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Commercial marketplace lead management - Training | Microsoft Learn</a:t>
            </a:r>
            <a:endParaRPr lang="en-US"/>
          </a:p>
          <a:p>
            <a:endParaRPr lang="en-US">
              <a:cs typeface="Calibri"/>
            </a:endParaRPr>
          </a:p>
        </p:txBody>
      </p:sp>
      <p:sp>
        <p:nvSpPr>
          <p:cNvPr id="4" name="Slide Number Placeholder 3"/>
          <p:cNvSpPr>
            <a:spLocks noGrp="1"/>
          </p:cNvSpPr>
          <p:nvPr>
            <p:ph type="sldNum" sz="quarter" idx="5"/>
          </p:nvPr>
        </p:nvSpPr>
        <p:spPr/>
        <p:txBody>
          <a:bodyPr/>
          <a:lstStyle/>
          <a:p>
            <a:fld id="{297A4B63-AD09-44DE-BEEC-F379281B23CC}" type="slidenum">
              <a:rPr lang="en-US" smtClean="0"/>
              <a:t>45</a:t>
            </a:fld>
            <a:endParaRPr lang="en-US"/>
          </a:p>
        </p:txBody>
      </p:sp>
    </p:spTree>
    <p:extLst>
      <p:ext uri="{BB962C8B-B14F-4D97-AF65-F5344CB8AC3E}">
        <p14:creationId xmlns:p14="http://schemas.microsoft.com/office/powerpoint/2010/main" val="80217020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Procurement playbook - How to drive custom deals on Azure Marketplace - Microsoft marketplace | Microsoft Learn</a:t>
            </a:r>
            <a:endParaRPr lang="en-US"/>
          </a:p>
        </p:txBody>
      </p:sp>
      <p:sp>
        <p:nvSpPr>
          <p:cNvPr id="4" name="Slide Number Placeholder 3"/>
          <p:cNvSpPr>
            <a:spLocks noGrp="1"/>
          </p:cNvSpPr>
          <p:nvPr>
            <p:ph type="sldNum" sz="quarter" idx="5"/>
          </p:nvPr>
        </p:nvSpPr>
        <p:spPr/>
        <p:txBody>
          <a:bodyPr/>
          <a:lstStyle/>
          <a:p>
            <a:fld id="{297A4B63-AD09-44DE-BEEC-F379281B23CC}" type="slidenum">
              <a:rPr lang="en-US" smtClean="0"/>
              <a:t>48</a:t>
            </a:fld>
            <a:endParaRPr lang="en-US"/>
          </a:p>
        </p:txBody>
      </p:sp>
    </p:spTree>
    <p:extLst>
      <p:ext uri="{BB962C8B-B14F-4D97-AF65-F5344CB8AC3E}">
        <p14:creationId xmlns:p14="http://schemas.microsoft.com/office/powerpoint/2010/main" val="271403320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Procurement playbook - How to drive custom deals on Azure Marketplace - Microsoft marketplace | Microsoft Learn</a:t>
            </a:r>
            <a:endParaRPr lang="en-US"/>
          </a:p>
        </p:txBody>
      </p:sp>
      <p:sp>
        <p:nvSpPr>
          <p:cNvPr id="4" name="Slide Number Placeholder 3"/>
          <p:cNvSpPr>
            <a:spLocks noGrp="1"/>
          </p:cNvSpPr>
          <p:nvPr>
            <p:ph type="sldNum" sz="quarter" idx="5"/>
          </p:nvPr>
        </p:nvSpPr>
        <p:spPr/>
        <p:txBody>
          <a:bodyPr/>
          <a:lstStyle/>
          <a:p>
            <a:fld id="{297A4B63-AD09-44DE-BEEC-F379281B23CC}" type="slidenum">
              <a:rPr lang="en-US" smtClean="0"/>
              <a:t>51</a:t>
            </a:fld>
            <a:endParaRPr lang="en-US"/>
          </a:p>
        </p:txBody>
      </p:sp>
    </p:spTree>
    <p:extLst>
      <p:ext uri="{BB962C8B-B14F-4D97-AF65-F5344CB8AC3E}">
        <p14:creationId xmlns:p14="http://schemas.microsoft.com/office/powerpoint/2010/main" val="22800777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endParaRPr lang="en-US" sz="1000" b="1" i="0">
              <a:latin typeface="Segoe UI Light"/>
              <a:cs typeface="Segoe UI Light"/>
            </a:endParaRPr>
          </a:p>
          <a:p>
            <a:pPr>
              <a:defRPr/>
            </a:pPr>
            <a:r>
              <a:rPr lang="en-US" sz="1000" b="1" i="0">
                <a:latin typeface="Segoe UI Light"/>
                <a:cs typeface="Segoe UI Light"/>
              </a:rPr>
              <a:t>NOTE: </a:t>
            </a:r>
            <a:r>
              <a:rPr lang="en-US" sz="1000" i="0">
                <a:latin typeface="Segoe UI Light"/>
                <a:cs typeface="Segoe UI Light"/>
              </a:rPr>
              <a:t>Your start time may vary. Please fill in time zone for this deliver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i="1">
              <a:latin typeface="Segoe UI Light" panose="020B0502040204020203" pitchFamily="34" charset="0"/>
              <a:cs typeface="Segoe UI Light" panose="020B0502040204020203" pitchFamily="34" charset="0"/>
            </a:endParaRPr>
          </a:p>
          <a:p>
            <a:pPr marL="0" marR="0" lvl="0" indent="0" algn="l" defTabSz="914400">
              <a:lnSpc>
                <a:spcPct val="100000"/>
              </a:lnSpc>
              <a:spcBef>
                <a:spcPts val="0"/>
              </a:spcBef>
              <a:spcAft>
                <a:spcPts val="0"/>
              </a:spcAft>
              <a:buClrTx/>
              <a:buSzTx/>
              <a:buFontTx/>
              <a:buNone/>
              <a:tabLst/>
              <a:defRPr/>
            </a:pPr>
            <a:r>
              <a:rPr lang="en-US" sz="1000" b="1" i="0">
                <a:latin typeface="Segoe UI Light"/>
                <a:cs typeface="Segoe UI Light"/>
              </a:rPr>
              <a:t>SAY:</a:t>
            </a:r>
            <a:endParaRPr lang="en-US">
              <a:latin typeface="Segoe UI Light"/>
              <a:cs typeface="Segoe UI Light"/>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000">
                <a:latin typeface="Segoe UI Light"/>
                <a:cs typeface="Segoe UI Light"/>
              </a:rPr>
              <a:t>Training is x hours long.</a:t>
            </a:r>
          </a:p>
          <a:p>
            <a:pPr marL="171450" indent="-171450">
              <a:buFont typeface="Wingdings" panose="05000000000000000000" pitchFamily="2" charset="2"/>
              <a:buChar char="§"/>
            </a:pPr>
            <a:r>
              <a:rPr lang="en-US" sz="1000">
                <a:latin typeface="Segoe UI Light"/>
                <a:cs typeface="Segoe UI Light"/>
              </a:rPr>
              <a:t>There are no scheduled breaks, take when needed. There is a 45-minute lunch.</a:t>
            </a:r>
          </a:p>
          <a:p>
            <a:pPr marL="171450" indent="-171450">
              <a:buFont typeface="Wingdings" panose="05000000000000000000" pitchFamily="2" charset="2"/>
              <a:buChar char="§"/>
            </a:pPr>
            <a:endParaRPr lang="en-US" sz="1000">
              <a:latin typeface="Segoe UI Light"/>
              <a:cs typeface="Segoe UI Light"/>
            </a:endParaRPr>
          </a:p>
          <a:p>
            <a:pPr marL="171450" indent="-171450">
              <a:buFont typeface="Wingdings" panose="05000000000000000000" pitchFamily="2" charset="2"/>
              <a:buChar char="§"/>
            </a:pPr>
            <a:r>
              <a:rPr lang="en-US" sz="1000">
                <a:latin typeface="Segoe UI Light"/>
                <a:cs typeface="Segoe UI Light"/>
              </a:rPr>
              <a:t>Head Coach will start the workshop in the General Channel and wrap up the workshop at the end of the day in the General Channel. </a:t>
            </a:r>
          </a:p>
          <a:p>
            <a:pPr marL="171450" indent="-171450">
              <a:buFont typeface="Wingdings" panose="05000000000000000000" pitchFamily="2" charset="2"/>
              <a:buChar char="§"/>
            </a:pPr>
            <a:r>
              <a:rPr lang="en-US" sz="1000">
                <a:latin typeface="Segoe UI Light"/>
                <a:cs typeface="Segoe UI Light"/>
              </a:rPr>
              <a:t>The rest of the day, the students will work in their individual TEAM Channels with you as the other coaches leading them through activities and monitoring the schedule.</a:t>
            </a:r>
          </a:p>
          <a:p>
            <a:pPr marL="171450" indent="-171450">
              <a:buFont typeface="Wingdings" panose="05000000000000000000" pitchFamily="2" charset="2"/>
              <a:buChar char="§"/>
            </a:pPr>
            <a:endParaRPr lang="en-US" sz="1000">
              <a:latin typeface="Segoe UI Light"/>
              <a:cs typeface="Segoe UI Light"/>
            </a:endParaRPr>
          </a:p>
          <a:p>
            <a:pPr marL="171450" indent="-171450">
              <a:buFont typeface="Wingdings" panose="05000000000000000000" pitchFamily="2" charset="2"/>
              <a:buChar char="§"/>
            </a:pPr>
            <a:r>
              <a:rPr lang="en-US" sz="1000">
                <a:latin typeface="Segoe UI Light"/>
                <a:cs typeface="Segoe UI Light"/>
              </a:rPr>
              <a:t>Coach should do a high-level walk-through of the agenda and what is happening at each of the lab modules.</a:t>
            </a:r>
          </a:p>
          <a:p>
            <a:pPr marL="457200" lvl="1" indent="0" algn="l">
              <a:buFont typeface="Wingdings" panose="05000000000000000000" pitchFamily="2" charset="2"/>
              <a:buNone/>
            </a:pPr>
            <a:endParaRPr lang="en-US" sz="1000" b="0" i="0">
              <a:solidFill>
                <a:srgbClr val="24292E"/>
              </a:solidFill>
              <a:effectLst/>
              <a:latin typeface="Segoe UI" panose="020B0502040204020203" pitchFamily="34" charset="0"/>
              <a:cs typeface="Segoe UI" panose="020B0502040204020203" pitchFamily="34" charset="0"/>
            </a:endParaRPr>
          </a:p>
          <a:p>
            <a:endParaRPr lang="en-US" sz="1000" i="1">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98D5BB-B127-481F-BC0A-2F77C576BB3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635011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Create and manage Private Azure Marketplace collections in the Azure portal - Microsoft marketplace | Microsoft Learn</a:t>
            </a:r>
            <a:endParaRPr lang="en-US"/>
          </a:p>
        </p:txBody>
      </p:sp>
      <p:sp>
        <p:nvSpPr>
          <p:cNvPr id="4" name="Slide Number Placeholder 3"/>
          <p:cNvSpPr>
            <a:spLocks noGrp="1"/>
          </p:cNvSpPr>
          <p:nvPr>
            <p:ph type="sldNum" sz="quarter" idx="5"/>
          </p:nvPr>
        </p:nvSpPr>
        <p:spPr/>
        <p:txBody>
          <a:bodyPr/>
          <a:lstStyle/>
          <a:p>
            <a:fld id="{297A4B63-AD09-44DE-BEEC-F379281B23CC}" type="slidenum">
              <a:rPr lang="en-US" smtClean="0"/>
              <a:t>52</a:t>
            </a:fld>
            <a:endParaRPr lang="en-US"/>
          </a:p>
        </p:txBody>
      </p:sp>
    </p:spTree>
    <p:extLst>
      <p:ext uri="{BB962C8B-B14F-4D97-AF65-F5344CB8AC3E}">
        <p14:creationId xmlns:p14="http://schemas.microsoft.com/office/powerpoint/2010/main" val="170065619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a:solidFill>
                <a:srgbClr val="000000"/>
              </a:solidFill>
              <a:effectLst/>
              <a:latin typeface="Consolas" panose="020B0609020204030204" pitchFamily="49" charset="0"/>
            </a:endParaRPr>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507DC7E-BC41-4478-BA30-CBCC3A644F0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526231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a:solidFill>
                <a:srgbClr val="000000"/>
              </a:solidFill>
              <a:effectLst/>
              <a:latin typeface="Times New Roman"/>
              <a:ea typeface="Calibri" panose="020F0502020204030204" pitchFamily="34" charset="0"/>
              <a:cs typeface="Times New Roman"/>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8689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a:solidFill>
                <a:srgbClr val="000000"/>
              </a:solidFill>
              <a:effectLst/>
              <a:latin typeface="Times New Roman" panose="02020603050405020304" pitchFamily="18" charset="0"/>
              <a:cs typeface="Times New Roman"/>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77722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Azure Marketplace overview - Microsoft marketplace | Microsoft Learn</a:t>
            </a:r>
            <a:endParaRPr lang="en-US"/>
          </a:p>
        </p:txBody>
      </p:sp>
      <p:sp>
        <p:nvSpPr>
          <p:cNvPr id="4" name="Slide Number Placeholder 3"/>
          <p:cNvSpPr>
            <a:spLocks noGrp="1"/>
          </p:cNvSpPr>
          <p:nvPr>
            <p:ph type="sldNum" sz="quarter" idx="5"/>
          </p:nvPr>
        </p:nvSpPr>
        <p:spPr/>
        <p:txBody>
          <a:bodyPr/>
          <a:lstStyle/>
          <a:p>
            <a:fld id="{297A4B63-AD09-44DE-BEEC-F379281B23CC}" type="slidenum">
              <a:rPr lang="en-US" smtClean="0"/>
              <a:t>8</a:t>
            </a:fld>
            <a:endParaRPr lang="en-US"/>
          </a:p>
        </p:txBody>
      </p:sp>
    </p:spTree>
    <p:extLst>
      <p:ext uri="{BB962C8B-B14F-4D97-AF65-F5344CB8AC3E}">
        <p14:creationId xmlns:p14="http://schemas.microsoft.com/office/powerpoint/2010/main" val="35311086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Azure Marketplace overview - Microsoft marketplace | Microsoft Learn</a:t>
            </a:r>
            <a:endParaRPr lang="en-US"/>
          </a:p>
        </p:txBody>
      </p:sp>
      <p:sp>
        <p:nvSpPr>
          <p:cNvPr id="4" name="Slide Number Placeholder 3"/>
          <p:cNvSpPr>
            <a:spLocks noGrp="1"/>
          </p:cNvSpPr>
          <p:nvPr>
            <p:ph type="sldNum" sz="quarter" idx="5"/>
          </p:nvPr>
        </p:nvSpPr>
        <p:spPr/>
        <p:txBody>
          <a:bodyPr/>
          <a:lstStyle/>
          <a:p>
            <a:fld id="{297A4B63-AD09-44DE-BEEC-F379281B23CC}" type="slidenum">
              <a:rPr lang="en-US" smtClean="0"/>
              <a:t>9</a:t>
            </a:fld>
            <a:endParaRPr lang="en-US"/>
          </a:p>
        </p:txBody>
      </p:sp>
    </p:spTree>
    <p:extLst>
      <p:ext uri="{BB962C8B-B14F-4D97-AF65-F5344CB8AC3E}">
        <p14:creationId xmlns:p14="http://schemas.microsoft.com/office/powerpoint/2010/main" val="23747502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Azure Marketplace overview - Microsoft marketplace | Microsoft Learn</a:t>
            </a:r>
            <a:endParaRPr lang="en-US"/>
          </a:p>
        </p:txBody>
      </p:sp>
      <p:sp>
        <p:nvSpPr>
          <p:cNvPr id="4" name="Slide Number Placeholder 3"/>
          <p:cNvSpPr>
            <a:spLocks noGrp="1"/>
          </p:cNvSpPr>
          <p:nvPr>
            <p:ph type="sldNum" sz="quarter" idx="5"/>
          </p:nvPr>
        </p:nvSpPr>
        <p:spPr/>
        <p:txBody>
          <a:bodyPr/>
          <a:lstStyle/>
          <a:p>
            <a:fld id="{297A4B63-AD09-44DE-BEEC-F379281B23CC}" type="slidenum">
              <a:rPr lang="en-US" smtClean="0"/>
              <a:t>10</a:t>
            </a:fld>
            <a:endParaRPr lang="en-US"/>
          </a:p>
        </p:txBody>
      </p:sp>
    </p:spTree>
    <p:extLst>
      <p:ext uri="{BB962C8B-B14F-4D97-AF65-F5344CB8AC3E}">
        <p14:creationId xmlns:p14="http://schemas.microsoft.com/office/powerpoint/2010/main" val="41470270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Azure Marketplace overview - Microsoft marketplace | Microsoft Learn</a:t>
            </a:r>
            <a:endParaRPr lang="en-US"/>
          </a:p>
        </p:txBody>
      </p:sp>
      <p:sp>
        <p:nvSpPr>
          <p:cNvPr id="4" name="Slide Number Placeholder 3"/>
          <p:cNvSpPr>
            <a:spLocks noGrp="1"/>
          </p:cNvSpPr>
          <p:nvPr>
            <p:ph type="sldNum" sz="quarter" idx="5"/>
          </p:nvPr>
        </p:nvSpPr>
        <p:spPr/>
        <p:txBody>
          <a:bodyPr/>
          <a:lstStyle/>
          <a:p>
            <a:fld id="{297A4B63-AD09-44DE-BEEC-F379281B23CC}" type="slidenum">
              <a:rPr lang="en-US" smtClean="0"/>
              <a:t>17</a:t>
            </a:fld>
            <a:endParaRPr lang="en-US"/>
          </a:p>
        </p:txBody>
      </p:sp>
    </p:spTree>
    <p:extLst>
      <p:ext uri="{BB962C8B-B14F-4D97-AF65-F5344CB8AC3E}">
        <p14:creationId xmlns:p14="http://schemas.microsoft.com/office/powerpoint/2010/main" val="225115459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pic>
        <p:nvPicPr>
          <p:cNvPr id="8" name="MS logo white - EMF" descr="Microsoft logo white text version">
            <a:extLst>
              <a:ext uri="{FF2B5EF4-FFF2-40B4-BE49-F238E27FC236}">
                <a16:creationId xmlns:a16="http://schemas.microsoft.com/office/drawing/2014/main" id="{D2BBF83B-AB94-4635-A784-5E8484DEC77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1502212"/>
            <a:ext cx="4167887" cy="2031325"/>
          </a:xfrm>
        </p:spPr>
        <p:txBody>
          <a:bodyPr anchor="b" anchorCtr="0">
            <a:spAutoFit/>
          </a:bodyPr>
          <a:lstStyle>
            <a:lvl1pPr>
              <a:defRPr sz="4400"/>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85A24E5A-A589-444B-A12E-6729B21E6E4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3469990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746074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8534178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179701"/>
            <a:ext cx="9144000" cy="498598"/>
          </a:xfrm>
          <a:noFill/>
        </p:spPr>
        <p:txBody>
          <a:bodyPr lIns="0" tIns="0" rIns="0" bIns="0" anchor="ctr"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049735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5343943"/>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0701352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solidFill>
                  <a:schemeClr val="tx1"/>
                </a:soli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0946429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8458249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solidFill>
                  <a:schemeClr val="tx1"/>
                </a:solidFill>
                <a:latin typeface="+mn-lt"/>
              </a:defRPr>
            </a:lvl1pPr>
            <a:lvl2pPr>
              <a:defRPr sz="2800">
                <a:solidFill>
                  <a:schemeClr val="tx1"/>
                </a:solidFill>
                <a:latin typeface="+mn-lt"/>
              </a:defRPr>
            </a:lvl2pPr>
            <a:lvl3pPr>
              <a:defRPr sz="2400">
                <a:solidFill>
                  <a:schemeClr val="tx1"/>
                </a:solidFill>
                <a:latin typeface="+mn-lt"/>
              </a:defRPr>
            </a:lvl3pPr>
            <a:lvl4pPr>
              <a:defRPr sz="2000">
                <a:solidFill>
                  <a:schemeClr val="tx1"/>
                </a:solidFill>
                <a:latin typeface="+mn-lt"/>
              </a:defRPr>
            </a:lvl4pPr>
            <a:lvl5pPr>
              <a:defRPr sz="18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741188016"/>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2_centered titl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1BCAC9-E25C-4A29-A7D2-82C7DE406CE6}"/>
              </a:ext>
            </a:extLst>
          </p:cNvPr>
          <p:cNvSpPr>
            <a:spLocks noGrp="1"/>
          </p:cNvSpPr>
          <p:nvPr userDrawn="1">
            <p:ph type="title"/>
          </p:nvPr>
        </p:nvSpPr>
        <p:spPr/>
        <p:txBody>
          <a:bodyPr/>
          <a:lstStyle/>
          <a:p>
            <a:r>
              <a:rPr lang="en-US"/>
              <a:t>Click to edit Master title style</a:t>
            </a:r>
          </a:p>
        </p:txBody>
      </p:sp>
      <p:sp>
        <p:nvSpPr>
          <p:cNvPr id="8" name="TextBox 7">
            <a:extLst>
              <a:ext uri="{FF2B5EF4-FFF2-40B4-BE49-F238E27FC236}">
                <a16:creationId xmlns:a16="http://schemas.microsoft.com/office/drawing/2014/main" id="{AE9C5276-7B68-429C-9DA6-E4F27E0CA047}"/>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552525" y="6444913"/>
            <a:ext cx="209939" cy="60464"/>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17999371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Only - left side ">
    <p:spTree>
      <p:nvGrpSpPr>
        <p:cNvPr id="1" name=""/>
        <p:cNvGrpSpPr/>
        <p:nvPr/>
      </p:nvGrpSpPr>
      <p:grpSpPr>
        <a:xfrm>
          <a:off x="0" y="0"/>
          <a:ext cx="0" cy="0"/>
          <a:chOff x="0" y="0"/>
          <a:chExt cx="0" cy="0"/>
        </a:xfrm>
      </p:grpSpPr>
      <p:pic>
        <p:nvPicPr>
          <p:cNvPr id="5" name="Picture 4" descr="Microsoft Azure logo">
            <a:extLst>
              <a:ext uri="{FF2B5EF4-FFF2-40B4-BE49-F238E27FC236}">
                <a16:creationId xmlns:a16="http://schemas.microsoft.com/office/drawing/2014/main" id="{477BD162-8300-4F28-8023-6DD1BF73E8B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84201" y="578571"/>
            <a:ext cx="1892300" cy="269574"/>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875002"/>
            <a:ext cx="4160521" cy="1107996"/>
          </a:xfrm>
        </p:spPr>
        <p:txBody>
          <a:bodyPr wrap="square" anchor="ctr">
            <a:spAutoFit/>
          </a:bodyPr>
          <a:lstStyle/>
          <a:p>
            <a:r>
              <a:rPr lang="en-US"/>
              <a:t>Click to edit Master title style</a:t>
            </a:r>
          </a:p>
        </p:txBody>
      </p:sp>
      <p:sp>
        <p:nvSpPr>
          <p:cNvPr id="4" name="Text Placeholder 10">
            <a:extLst>
              <a:ext uri="{FF2B5EF4-FFF2-40B4-BE49-F238E27FC236}">
                <a16:creationId xmlns:a16="http://schemas.microsoft.com/office/drawing/2014/main" id="{E7F188F7-5D69-4A37-B62E-1322D2E033E4}"/>
              </a:ext>
            </a:extLst>
          </p:cNvPr>
          <p:cNvSpPr>
            <a:spLocks noGrp="1"/>
          </p:cNvSpPr>
          <p:nvPr>
            <p:ph type="body" sz="quarter" idx="15" hasCustomPrompt="1"/>
          </p:nvPr>
        </p:nvSpPr>
        <p:spPr>
          <a:xfrm>
            <a:off x="584200" y="4426314"/>
            <a:ext cx="4945744" cy="553998"/>
          </a:xfrm>
          <a:prstGeom prst="rect">
            <a:avLst/>
          </a:prstGeom>
        </p:spPr>
        <p:txBody>
          <a:bodyPr/>
          <a:lstStyle>
            <a:lvl1pPr marL="0" indent="0" algn="l">
              <a:buNone/>
              <a:defRPr sz="1800">
                <a:solidFill>
                  <a:schemeClr val="tx1"/>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Tree>
    <p:extLst>
      <p:ext uri="{BB962C8B-B14F-4D97-AF65-F5344CB8AC3E}">
        <p14:creationId xmlns:p14="http://schemas.microsoft.com/office/powerpoint/2010/main" val="10998158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5ACBF0"/>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1" pos="3336">
          <p15:clr>
            <a:srgbClr val="FBAE40"/>
          </p15:clr>
        </p15:guide>
        <p15:guide id="32" orient="horz" pos="2160">
          <p15:clr>
            <a:srgbClr val="5ACBF0"/>
          </p15:clr>
        </p15:guide>
        <p15:guide id="33" pos="2994">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856668"/>
            <a:ext cx="9144000" cy="677108"/>
          </a:xfrm>
          <a:noFill/>
        </p:spPr>
        <p:txBody>
          <a:bodyPr lIns="0" tIns="0" rIns="0" bIns="0" anchor="b" anchorCtr="0">
            <a:spAutoFit/>
          </a:bodyPr>
          <a:lstStyle>
            <a:lvl1pPr>
              <a:defRPr sz="44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9046397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6B02BF2A-7BE7-4F1F-819E-97933FE2DD80}"/>
              </a:ext>
              <a:ext uri="{C183D7F6-B498-43B3-948B-1728B52AA6E4}">
                <adec:decorative xmlns:adec="http://schemas.microsoft.com/office/drawing/2017/decorative" val="1"/>
              </a:ext>
            </a:extLst>
          </p:cNvPr>
          <p:cNvGrpSpPr/>
          <p:nvPr userDrawn="1"/>
        </p:nvGrpSpPr>
        <p:grpSpPr>
          <a:xfrm>
            <a:off x="-1" y="0"/>
            <a:ext cx="12190271" cy="5483600"/>
            <a:chOff x="-1" y="0"/>
            <a:chExt cx="12434711" cy="5592764"/>
          </a:xfrm>
        </p:grpSpPr>
        <p:pic>
          <p:nvPicPr>
            <p:cNvPr id="8" name="Picture 7" descr="A nurse writing&#10;">
              <a:extLst>
                <a:ext uri="{FF2B5EF4-FFF2-40B4-BE49-F238E27FC236}">
                  <a16:creationId xmlns:a16="http://schemas.microsoft.com/office/drawing/2014/main" id="{5CB044E4-A9A6-4A1B-A5D4-607833EBE33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12434710" cy="5592763"/>
            </a:xfrm>
            <a:custGeom>
              <a:avLst/>
              <a:gdLst>
                <a:gd name="connsiteX0" fmla="*/ 0 w 12434710"/>
                <a:gd name="connsiteY0" fmla="*/ 0 h 5592763"/>
                <a:gd name="connsiteX1" fmla="*/ 12434710 w 12434710"/>
                <a:gd name="connsiteY1" fmla="*/ 0 h 5592763"/>
                <a:gd name="connsiteX2" fmla="*/ 12434710 w 12434710"/>
                <a:gd name="connsiteY2" fmla="*/ 5592763 h 5592763"/>
                <a:gd name="connsiteX3" fmla="*/ 0 w 12434710"/>
                <a:gd name="connsiteY3" fmla="*/ 5592763 h 5592763"/>
              </a:gdLst>
              <a:ahLst/>
              <a:cxnLst>
                <a:cxn ang="0">
                  <a:pos x="connsiteX0" y="connsiteY0"/>
                </a:cxn>
                <a:cxn ang="0">
                  <a:pos x="connsiteX1" y="connsiteY1"/>
                </a:cxn>
                <a:cxn ang="0">
                  <a:pos x="connsiteX2" y="connsiteY2"/>
                </a:cxn>
                <a:cxn ang="0">
                  <a:pos x="connsiteX3" y="connsiteY3"/>
                </a:cxn>
              </a:cxnLst>
              <a:rect l="l" t="t" r="r" b="b"/>
              <a:pathLst>
                <a:path w="12434710" h="5592763">
                  <a:moveTo>
                    <a:pt x="0" y="0"/>
                  </a:moveTo>
                  <a:lnTo>
                    <a:pt x="12434710" y="0"/>
                  </a:lnTo>
                  <a:lnTo>
                    <a:pt x="12434710" y="5592763"/>
                  </a:lnTo>
                  <a:lnTo>
                    <a:pt x="0" y="5592763"/>
                  </a:lnTo>
                  <a:close/>
                </a:path>
              </a:pathLst>
            </a:custGeom>
          </p:spPr>
        </p:pic>
        <p:sp>
          <p:nvSpPr>
            <p:cNvPr id="5" name="Rectangle 4">
              <a:extLst>
                <a:ext uri="{FF2B5EF4-FFF2-40B4-BE49-F238E27FC236}">
                  <a16:creationId xmlns:a16="http://schemas.microsoft.com/office/drawing/2014/main" id="{3BFC33DA-54D0-4F30-A2E6-C0BB69A6326B}"/>
                </a:ext>
                <a:ext uri="{C183D7F6-B498-43B3-948B-1728B52AA6E4}">
                  <adec:decorative xmlns:adec="http://schemas.microsoft.com/office/drawing/2017/decorative" val="1"/>
                </a:ext>
              </a:extLst>
            </p:cNvPr>
            <p:cNvSpPr/>
            <p:nvPr/>
          </p:nvSpPr>
          <p:spPr bwMode="auto">
            <a:xfrm>
              <a:off x="-1" y="0"/>
              <a:ext cx="12434711" cy="5592763"/>
            </a:xfrm>
            <a:prstGeom prst="rect">
              <a:avLst/>
            </a:prstGeom>
            <a:solidFill>
              <a:schemeClr val="bg1">
                <a:alpha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userDrawn="1">
            <p:ph type="title"/>
          </p:nvPr>
        </p:nvSpPr>
        <p:spPr/>
        <p:txBody>
          <a:bodyPr/>
          <a:lstStyle/>
          <a:p>
            <a:r>
              <a:rPr lang="en-US"/>
              <a:t>Click to edit Master title style</a:t>
            </a:r>
          </a:p>
        </p:txBody>
      </p:sp>
    </p:spTree>
    <p:extLst>
      <p:ext uri="{BB962C8B-B14F-4D97-AF65-F5344CB8AC3E}">
        <p14:creationId xmlns:p14="http://schemas.microsoft.com/office/powerpoint/2010/main" val="419570882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9445A-A014-4223-90E2-3D3353E0CE83}"/>
              </a:ext>
            </a:extLst>
          </p:cNvPr>
          <p:cNvSpPr>
            <a:spLocks noGrp="1"/>
          </p:cNvSpPr>
          <p:nvPr>
            <p:ph type="title" hasCustomPrompt="1"/>
          </p:nvPr>
        </p:nvSpPr>
        <p:spPr>
          <a:xfrm>
            <a:off x="588263" y="457200"/>
            <a:ext cx="11018520" cy="492443"/>
          </a:xfrm>
        </p:spPr>
        <p:txBody>
          <a:bodyPr/>
          <a:lstStyle>
            <a:lvl1pPr>
              <a:defRPr sz="3200"/>
            </a:lvl1pPr>
          </a:lstStyle>
          <a:p>
            <a:r>
              <a:rPr lang="en-US"/>
              <a:t>Heading Segoe UI </a:t>
            </a:r>
            <a:r>
              <a:rPr lang="en-US" err="1"/>
              <a:t>Semibold</a:t>
            </a:r>
            <a:r>
              <a:rPr lang="en-US"/>
              <a:t> 32</a:t>
            </a:r>
          </a:p>
        </p:txBody>
      </p:sp>
      <p:sp>
        <p:nvSpPr>
          <p:cNvPr id="5" name="Footer Placeholder 1">
            <a:extLst>
              <a:ext uri="{FF2B5EF4-FFF2-40B4-BE49-F238E27FC236}">
                <a16:creationId xmlns:a16="http://schemas.microsoft.com/office/drawing/2014/main" id="{4EDDE750-2B1C-47F3-86E7-2267281E3963}"/>
              </a:ext>
            </a:extLst>
          </p:cNvPr>
          <p:cNvSpPr txBox="1">
            <a:spLocks/>
          </p:cNvSpPr>
          <p:nvPr userDrawn="1"/>
        </p:nvSpPr>
        <p:spPr>
          <a:xfrm>
            <a:off x="8265543" y="6594400"/>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1500657544"/>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CA6984-914A-4A6A-87D1-CC988EDE0A29}"/>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48FE9D7-BDF5-440C-AE51-EBF63AAFFC0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C2F0638-76E2-42BC-A471-5851F7A8D05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875ACF5-0BF0-4E11-AAAD-72A303A5E8F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62FFB88-D656-4B96-9AEF-56CB769547E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14FBC88-F688-4EB6-B02D-897DE2A2B589}"/>
              </a:ext>
            </a:extLst>
          </p:cNvPr>
          <p:cNvSpPr>
            <a:spLocks noGrp="1"/>
          </p:cNvSpPr>
          <p:nvPr>
            <p:ph type="dt" sz="half" idx="10"/>
          </p:nvPr>
        </p:nvSpPr>
        <p:spPr/>
        <p:txBody>
          <a:bodyPr/>
          <a:lstStyle/>
          <a:p>
            <a:fld id="{5B804146-93B5-4C8A-9A4F-B58F5551F951}" type="datetimeFigureOut">
              <a:rPr lang="en-US" smtClean="0"/>
              <a:t>11/14/2023</a:t>
            </a:fld>
            <a:endParaRPr lang="en-US"/>
          </a:p>
        </p:txBody>
      </p:sp>
      <p:sp>
        <p:nvSpPr>
          <p:cNvPr id="8" name="Footer Placeholder 7">
            <a:extLst>
              <a:ext uri="{FF2B5EF4-FFF2-40B4-BE49-F238E27FC236}">
                <a16:creationId xmlns:a16="http://schemas.microsoft.com/office/drawing/2014/main" id="{B2E9FE02-3965-4F3E-87B9-6A32EC45A5D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E448123E-4E36-44E6-B303-B2B98CC77D11}"/>
              </a:ext>
            </a:extLst>
          </p:cNvPr>
          <p:cNvSpPr>
            <a:spLocks noGrp="1"/>
          </p:cNvSpPr>
          <p:nvPr>
            <p:ph type="sldNum" sz="quarter" idx="12"/>
          </p:nvPr>
        </p:nvSpPr>
        <p:spPr/>
        <p:txBody>
          <a:bodyPr/>
          <a:lstStyle/>
          <a:p>
            <a:fld id="{8304A312-4756-49C6-821E-E3DCD0F6FD9D}" type="slidenum">
              <a:rPr lang="en-US" smtClean="0"/>
              <a:t>‹#›</a:t>
            </a:fld>
            <a:endParaRPr lang="en-US"/>
          </a:p>
        </p:txBody>
      </p:sp>
    </p:spTree>
    <p:extLst>
      <p:ext uri="{BB962C8B-B14F-4D97-AF65-F5344CB8AC3E}">
        <p14:creationId xmlns:p14="http://schemas.microsoft.com/office/powerpoint/2010/main" val="292709139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_Divider_Gradient_Dark">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0AFE213B-CCE9-B788-5455-93262CAB1BC7}"/>
              </a:ext>
            </a:extLst>
          </p:cNvPr>
          <p:cNvPicPr>
            <a:picLocks noChangeAspect="1"/>
          </p:cNvPicPr>
          <p:nvPr userDrawn="1"/>
        </p:nvPicPr>
        <p:blipFill rotWithShape="1">
          <a:blip r:embed="rId2"/>
          <a:srcRect l="-3" r="6"/>
          <a:stretch/>
        </p:blipFill>
        <p:spPr>
          <a:xfrm>
            <a:off x="0" y="0"/>
            <a:ext cx="12192000" cy="6858000"/>
          </a:xfrm>
          <a:prstGeom prst="rect">
            <a:avLst/>
          </a:prstGeom>
        </p:spPr>
      </p:pic>
      <p:sp>
        <p:nvSpPr>
          <p:cNvPr id="8" name="Text Placeholder 2">
            <a:extLst>
              <a:ext uri="{FF2B5EF4-FFF2-40B4-BE49-F238E27FC236}">
                <a16:creationId xmlns:a16="http://schemas.microsoft.com/office/drawing/2014/main" id="{0DB922C2-73CE-35BB-D875-2696454B8FCF}"/>
              </a:ext>
            </a:extLst>
          </p:cNvPr>
          <p:cNvSpPr>
            <a:spLocks noGrp="1"/>
          </p:cNvSpPr>
          <p:nvPr>
            <p:ph type="body" sz="quarter" idx="11" hasCustomPrompt="1"/>
          </p:nvPr>
        </p:nvSpPr>
        <p:spPr>
          <a:xfrm>
            <a:off x="584201" y="3646980"/>
            <a:ext cx="10480421" cy="1477328"/>
          </a:xfrm>
        </p:spPr>
        <p:txBody>
          <a:bodyPr anchor="b">
            <a:noAutofit/>
          </a:bodyPr>
          <a:lstStyle>
            <a:lvl1pPr marL="0" indent="0">
              <a:buNone/>
              <a:defRPr sz="4800" b="1"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Section Divider Title</a:t>
            </a:r>
          </a:p>
        </p:txBody>
      </p:sp>
      <p:sp>
        <p:nvSpPr>
          <p:cNvPr id="9" name="Text Placeholder 2">
            <a:extLst>
              <a:ext uri="{FF2B5EF4-FFF2-40B4-BE49-F238E27FC236}">
                <a16:creationId xmlns:a16="http://schemas.microsoft.com/office/drawing/2014/main" id="{78210DB2-5758-3D51-0A08-A1174E40B4A2}"/>
              </a:ext>
            </a:extLst>
          </p:cNvPr>
          <p:cNvSpPr>
            <a:spLocks noGrp="1"/>
          </p:cNvSpPr>
          <p:nvPr>
            <p:ph type="body" sz="quarter" idx="12" hasCustomPrompt="1"/>
          </p:nvPr>
        </p:nvSpPr>
        <p:spPr>
          <a:xfrm>
            <a:off x="584200" y="5252490"/>
            <a:ext cx="10480421" cy="369332"/>
          </a:xfrm>
        </p:spPr>
        <p:txBody>
          <a:bodyPr/>
          <a:lstStyle>
            <a:lvl1pPr marL="0" indent="0">
              <a:buNone/>
              <a:defRPr sz="2400">
                <a:solidFill>
                  <a:schemeClr val="bg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ubtitle</a:t>
            </a:r>
          </a:p>
        </p:txBody>
      </p:sp>
      <p:sp>
        <p:nvSpPr>
          <p:cNvPr id="2" name="Footer Placeholder 1">
            <a:extLst>
              <a:ext uri="{FF2B5EF4-FFF2-40B4-BE49-F238E27FC236}">
                <a16:creationId xmlns:a16="http://schemas.microsoft.com/office/drawing/2014/main" id="{C12CD1D4-CC7A-60B6-3AEB-CF4E2F7571C4}"/>
              </a:ext>
            </a:extLst>
          </p:cNvPr>
          <p:cNvSpPr>
            <a:spLocks noGrp="1"/>
          </p:cNvSpPr>
          <p:nvPr>
            <p:ph type="ftr" sz="quarter" idx="13"/>
          </p:nvPr>
        </p:nvSpPr>
        <p:spPr/>
        <p:txBody>
          <a:bodyPr/>
          <a:lstStyle>
            <a:lvl1pPr>
              <a:defRPr>
                <a:solidFill>
                  <a:schemeClr val="bg1"/>
                </a:solidFill>
              </a:defRPr>
            </a:lvl1pPr>
          </a:lstStyle>
          <a:p>
            <a:r>
              <a:rPr lang="en-US"/>
              <a:t>Microsoft Confidential</a:t>
            </a:r>
          </a:p>
        </p:txBody>
      </p:sp>
    </p:spTree>
    <p:extLst>
      <p:ext uri="{BB962C8B-B14F-4D97-AF65-F5344CB8AC3E}">
        <p14:creationId xmlns:p14="http://schemas.microsoft.com/office/powerpoint/2010/main" val="100720050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856668"/>
            <a:ext cx="9144000" cy="677108"/>
          </a:xfrm>
          <a:noFill/>
        </p:spPr>
        <p:txBody>
          <a:bodyPr lIns="0" tIns="0" rIns="0" bIns="0" anchor="b" anchorCtr="0">
            <a:spAutoFit/>
          </a:bodyPr>
          <a:lstStyle>
            <a:lvl1pPr>
              <a:defRPr sz="44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accent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7500488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77244399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0215577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25032824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8305737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4158312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2176421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25" cstate="screen">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100427194"/>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hyperlink" Target="https://portal.azure.com" TargetMode="External"/><Relationship Id="rId2" Type="http://schemas.openxmlformats.org/officeDocument/2006/relationships/hyperlink" Target="https://azuremarketplace.microsoft.com/" TargetMode="Externa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4.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4.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4.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5.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4.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9.xml"/><Relationship Id="rId1" Type="http://schemas.openxmlformats.org/officeDocument/2006/relationships/slideLayout" Target="../slideLayouts/slideLayout4.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1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1.xml"/><Relationship Id="rId1" Type="http://schemas.openxmlformats.org/officeDocument/2006/relationships/tags" Target="../tags/tag1.xml"/><Relationship Id="rId4" Type="http://schemas.openxmlformats.org/officeDocument/2006/relationships/image" Target="../media/image7.jpeg"/></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11.xml"/><Relationship Id="rId1" Type="http://schemas.openxmlformats.org/officeDocument/2006/relationships/slideLayout" Target="../slideLayouts/slideLayout4.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2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4.xml"/><Relationship Id="rId4" Type="http://schemas.openxmlformats.org/officeDocument/2006/relationships/image" Target="../media/image14.png"/></Relationships>
</file>

<file path=ppt/slides/_rels/slide2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14.xml"/><Relationship Id="rId1" Type="http://schemas.openxmlformats.org/officeDocument/2006/relationships/slideLayout" Target="../slideLayouts/slideLayout4.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16.xml"/><Relationship Id="rId1" Type="http://schemas.openxmlformats.org/officeDocument/2006/relationships/slideLayout" Target="../slideLayouts/slideLayout4.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diagramLayout" Target="../diagrams/layout10.xml"/><Relationship Id="rId2" Type="http://schemas.openxmlformats.org/officeDocument/2006/relationships/diagramData" Target="../diagrams/data10.xml"/><Relationship Id="rId1" Type="http://schemas.openxmlformats.org/officeDocument/2006/relationships/slideLayout" Target="../slideLayouts/slideLayout4.xml"/><Relationship Id="rId6" Type="http://schemas.microsoft.com/office/2007/relationships/diagramDrawing" Target="../diagrams/drawing10.xml"/><Relationship Id="rId5" Type="http://schemas.openxmlformats.org/officeDocument/2006/relationships/diagramColors" Target="../diagrams/colors10.xml"/><Relationship Id="rId4" Type="http://schemas.openxmlformats.org/officeDocument/2006/relationships/diagramQuickStyle" Target="../diagrams/quickStyle10.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2.xml"/><Relationship Id="rId1" Type="http://schemas.openxmlformats.org/officeDocument/2006/relationships/tags" Target="../tags/tag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3" Type="http://schemas.openxmlformats.org/officeDocument/2006/relationships/hyperlink" Target="https://learn.microsoft.com/en-us/marketplace/private-offers-in-azure-marketplace" TargetMode="External"/><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hyperlink" Target="https://www.youtube.com/watch?v=TANUlgLuVqI" TargetMode="Externa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20.xml"/><Relationship Id="rId1" Type="http://schemas.openxmlformats.org/officeDocument/2006/relationships/slideLayout" Target="../slideLayouts/slideLayout4.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35.xml.rels><?xml version="1.0" encoding="UTF-8" standalone="yes"?>
<Relationships xmlns="http://schemas.openxmlformats.org/package/2006/relationships"><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21.xml"/><Relationship Id="rId1" Type="http://schemas.openxmlformats.org/officeDocument/2006/relationships/slideLayout" Target="../slideLayouts/slideLayout6.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21.xml"/><Relationship Id="rId1" Type="http://schemas.openxmlformats.org/officeDocument/2006/relationships/tags" Target="../tags/tag6.xml"/><Relationship Id="rId5" Type="http://schemas.openxmlformats.org/officeDocument/2006/relationships/image" Target="../media/image8.emf"/><Relationship Id="rId4" Type="http://schemas.openxmlformats.org/officeDocument/2006/relationships/oleObject" Target="../embeddings/oleObject3.bin"/></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image" Target="../media/image6.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8.emf"/><Relationship Id="rId5" Type="http://schemas.openxmlformats.org/officeDocument/2006/relationships/oleObject" Target="../embeddings/oleObject1.bin"/><Relationship Id="rId4" Type="http://schemas.openxmlformats.org/officeDocument/2006/relationships/notesSlide" Target="../notesSlides/notesSlide3.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1.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3" Type="http://schemas.openxmlformats.org/officeDocument/2006/relationships/diagramLayout" Target="../diagrams/layout13.xml"/><Relationship Id="rId2" Type="http://schemas.openxmlformats.org/officeDocument/2006/relationships/diagramData" Target="../diagrams/data13.xml"/><Relationship Id="rId1" Type="http://schemas.openxmlformats.org/officeDocument/2006/relationships/slideLayout" Target="../slideLayouts/slideLayout4.xml"/><Relationship Id="rId6" Type="http://schemas.microsoft.com/office/2007/relationships/diagramDrawing" Target="../diagrams/drawing13.xml"/><Relationship Id="rId5" Type="http://schemas.openxmlformats.org/officeDocument/2006/relationships/diagramColors" Target="../diagrams/colors13.xml"/><Relationship Id="rId4" Type="http://schemas.openxmlformats.org/officeDocument/2006/relationships/diagramQuickStyle" Target="../diagrams/quickStyle13.xml"/></Relationships>
</file>

<file path=ppt/slides/_rels/slide43.xml.rels><?xml version="1.0" encoding="UTF-8" standalone="yes"?>
<Relationships xmlns="http://schemas.openxmlformats.org/package/2006/relationships"><Relationship Id="rId3" Type="http://schemas.openxmlformats.org/officeDocument/2006/relationships/diagramData" Target="../diagrams/data14.xml"/><Relationship Id="rId7" Type="http://schemas.microsoft.com/office/2007/relationships/diagramDrawing" Target="../diagrams/drawing14.xml"/><Relationship Id="rId2" Type="http://schemas.openxmlformats.org/officeDocument/2006/relationships/notesSlide" Target="../notesSlides/notesSlide25.xml"/><Relationship Id="rId1" Type="http://schemas.openxmlformats.org/officeDocument/2006/relationships/slideLayout" Target="../slideLayouts/slideLayout4.xml"/><Relationship Id="rId6" Type="http://schemas.openxmlformats.org/officeDocument/2006/relationships/diagramColors" Target="../diagrams/colors14.xml"/><Relationship Id="rId5" Type="http://schemas.openxmlformats.org/officeDocument/2006/relationships/diagramQuickStyle" Target="../diagrams/quickStyle14.xml"/><Relationship Id="rId4" Type="http://schemas.openxmlformats.org/officeDocument/2006/relationships/diagramLayout" Target="../diagrams/layout14.xml"/></Relationships>
</file>

<file path=ppt/slides/_rels/slide4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3" Type="http://schemas.openxmlformats.org/officeDocument/2006/relationships/diagramLayout" Target="../diagrams/layout15.xml"/><Relationship Id="rId2" Type="http://schemas.openxmlformats.org/officeDocument/2006/relationships/diagramData" Target="../diagrams/data15.xml"/><Relationship Id="rId1" Type="http://schemas.openxmlformats.org/officeDocument/2006/relationships/slideLayout" Target="../slideLayouts/slideLayout4.xml"/><Relationship Id="rId6" Type="http://schemas.microsoft.com/office/2007/relationships/diagramDrawing" Target="../diagrams/drawing15.xml"/><Relationship Id="rId5" Type="http://schemas.openxmlformats.org/officeDocument/2006/relationships/diagramColors" Target="../diagrams/colors15.xml"/><Relationship Id="rId4" Type="http://schemas.openxmlformats.org/officeDocument/2006/relationships/diagramQuickStyle" Target="../diagrams/quickStyle15.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8.xml.rels><?xml version="1.0" encoding="UTF-8" standalone="yes"?>
<Relationships xmlns="http://schemas.openxmlformats.org/package/2006/relationships"><Relationship Id="rId3" Type="http://schemas.openxmlformats.org/officeDocument/2006/relationships/diagramData" Target="../diagrams/data16.xml"/><Relationship Id="rId7" Type="http://schemas.microsoft.com/office/2007/relationships/diagramDrawing" Target="../diagrams/drawing16.xml"/><Relationship Id="rId2" Type="http://schemas.openxmlformats.org/officeDocument/2006/relationships/notesSlide" Target="../notesSlides/notesSlide28.xml"/><Relationship Id="rId1" Type="http://schemas.openxmlformats.org/officeDocument/2006/relationships/slideLayout" Target="../slideLayouts/slideLayout4.xml"/><Relationship Id="rId6" Type="http://schemas.openxmlformats.org/officeDocument/2006/relationships/diagramColors" Target="../diagrams/colors16.xml"/><Relationship Id="rId5" Type="http://schemas.openxmlformats.org/officeDocument/2006/relationships/diagramQuickStyle" Target="../diagrams/quickStyle16.xml"/><Relationship Id="rId4" Type="http://schemas.openxmlformats.org/officeDocument/2006/relationships/diagramLayout" Target="../diagrams/layout16.xml"/></Relationships>
</file>

<file path=ppt/slides/_rels/slide49.xml.rels><?xml version="1.0" encoding="UTF-8" standalone="yes"?>
<Relationships xmlns="http://schemas.openxmlformats.org/package/2006/relationships"><Relationship Id="rId3" Type="http://schemas.openxmlformats.org/officeDocument/2006/relationships/diagramLayout" Target="../diagrams/layout17.xml"/><Relationship Id="rId2" Type="http://schemas.openxmlformats.org/officeDocument/2006/relationships/diagramData" Target="../diagrams/data17.xml"/><Relationship Id="rId1" Type="http://schemas.openxmlformats.org/officeDocument/2006/relationships/slideLayout" Target="../slideLayouts/slideLayout4.xml"/><Relationship Id="rId6" Type="http://schemas.microsoft.com/office/2007/relationships/diagramDrawing" Target="../diagrams/drawing17.xml"/><Relationship Id="rId5" Type="http://schemas.openxmlformats.org/officeDocument/2006/relationships/diagramColors" Target="../diagrams/colors17.xml"/><Relationship Id="rId4" Type="http://schemas.openxmlformats.org/officeDocument/2006/relationships/diagramQuickStyle" Target="../diagrams/quickStyle1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3.xml"/></Relationships>
</file>

<file path=ppt/slides/_rels/slide50.xml.rels><?xml version="1.0" encoding="UTF-8" standalone="yes"?>
<Relationships xmlns="http://schemas.openxmlformats.org/package/2006/relationships"><Relationship Id="rId3" Type="http://schemas.openxmlformats.org/officeDocument/2006/relationships/diagramLayout" Target="../diagrams/layout18.xml"/><Relationship Id="rId2" Type="http://schemas.openxmlformats.org/officeDocument/2006/relationships/diagramData" Target="../diagrams/data18.xml"/><Relationship Id="rId1" Type="http://schemas.openxmlformats.org/officeDocument/2006/relationships/slideLayout" Target="../slideLayouts/slideLayout4.xml"/><Relationship Id="rId6" Type="http://schemas.microsoft.com/office/2007/relationships/diagramDrawing" Target="../diagrams/drawing18.xml"/><Relationship Id="rId5" Type="http://schemas.openxmlformats.org/officeDocument/2006/relationships/diagramColors" Target="../diagrams/colors18.xml"/><Relationship Id="rId4" Type="http://schemas.openxmlformats.org/officeDocument/2006/relationships/diagramQuickStyle" Target="../diagrams/quickStyle18.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xml"/></Relationships>
</file>

<file path=ppt/slides/_rels/slide52.xml.rels><?xml version="1.0" encoding="UTF-8" standalone="yes"?>
<Relationships xmlns="http://schemas.openxmlformats.org/package/2006/relationships"><Relationship Id="rId3" Type="http://schemas.openxmlformats.org/officeDocument/2006/relationships/hyperlink" Target="https://learn.microsoft.com/en-us/marketplace/create-manage-private-azure-marketplace-new" TargetMode="External"/><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21.xml"/><Relationship Id="rId1" Type="http://schemas.openxmlformats.org/officeDocument/2006/relationships/tags" Target="../tags/tag7.xml"/><Relationship Id="rId5" Type="http://schemas.openxmlformats.org/officeDocument/2006/relationships/image" Target="../media/image8.emf"/><Relationship Id="rId4" Type="http://schemas.openxmlformats.org/officeDocument/2006/relationships/oleObject" Target="../embeddings/oleObject4.bin"/></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1.xml"/><Relationship Id="rId1" Type="http://schemas.openxmlformats.org/officeDocument/2006/relationships/tags" Target="../tags/tag5.xml"/><Relationship Id="rId5" Type="http://schemas.openxmlformats.org/officeDocument/2006/relationships/image" Target="../media/image8.emf"/><Relationship Id="rId4" Type="http://schemas.openxmlformats.org/officeDocument/2006/relationships/oleObject" Target="../embeddings/oleObject2.bin"/></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7.xml"/><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A8D485-FD33-2DA7-238E-EDF73027901B}"/>
              </a:ext>
            </a:extLst>
          </p:cNvPr>
          <p:cNvSpPr>
            <a:spLocks noGrp="1"/>
          </p:cNvSpPr>
          <p:nvPr>
            <p:ph type="title"/>
          </p:nvPr>
        </p:nvSpPr>
        <p:spPr>
          <a:xfrm>
            <a:off x="588263" y="1502212"/>
            <a:ext cx="4167887" cy="2031325"/>
          </a:xfrm>
        </p:spPr>
        <p:txBody>
          <a:bodyPr wrap="square" anchor="b">
            <a:normAutofit/>
          </a:bodyPr>
          <a:lstStyle/>
          <a:p>
            <a:pPr>
              <a:lnSpc>
                <a:spcPct val="90000"/>
              </a:lnSpc>
            </a:pPr>
            <a:r>
              <a:rPr lang="en-US" sz="3700" dirty="0">
                <a:cs typeface="Segoe UI"/>
              </a:rPr>
              <a:t>Microsoft Commercial Marketplace</a:t>
            </a:r>
            <a:endParaRPr lang="en-US" sz="3700" dirty="0"/>
          </a:p>
        </p:txBody>
      </p:sp>
      <p:sp>
        <p:nvSpPr>
          <p:cNvPr id="3" name="Text Placeholder 2">
            <a:extLst>
              <a:ext uri="{FF2B5EF4-FFF2-40B4-BE49-F238E27FC236}">
                <a16:creationId xmlns:a16="http://schemas.microsoft.com/office/drawing/2014/main" id="{33B3B159-A982-E03B-7830-66591F295CD8}"/>
              </a:ext>
            </a:extLst>
          </p:cNvPr>
          <p:cNvSpPr>
            <a:spLocks noGrp="1"/>
          </p:cNvSpPr>
          <p:nvPr>
            <p:ph type="body" sz="quarter" idx="12"/>
          </p:nvPr>
        </p:nvSpPr>
        <p:spPr>
          <a:xfrm>
            <a:off x="582042" y="3962400"/>
            <a:ext cx="4164583" cy="338554"/>
          </a:xfrm>
        </p:spPr>
        <p:txBody>
          <a:bodyPr wrap="square">
            <a:normAutofit/>
          </a:bodyPr>
          <a:lstStyle/>
          <a:p>
            <a:pPr>
              <a:spcAft>
                <a:spcPts val="600"/>
              </a:spcAft>
            </a:pPr>
            <a:r>
              <a:rPr lang="en-US"/>
              <a:t>Microsoft Skilling</a:t>
            </a:r>
          </a:p>
        </p:txBody>
      </p:sp>
    </p:spTree>
    <p:extLst>
      <p:ext uri="{BB962C8B-B14F-4D97-AF65-F5344CB8AC3E}">
        <p14:creationId xmlns:p14="http://schemas.microsoft.com/office/powerpoint/2010/main" val="19297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18A146-7202-24EA-7B4D-99C422D5DB3F}"/>
              </a:ext>
            </a:extLst>
          </p:cNvPr>
          <p:cNvSpPr>
            <a:spLocks noGrp="1"/>
          </p:cNvSpPr>
          <p:nvPr>
            <p:ph type="title"/>
          </p:nvPr>
        </p:nvSpPr>
        <p:spPr>
          <a:xfrm>
            <a:off x="588263" y="457200"/>
            <a:ext cx="11018520" cy="553998"/>
          </a:xfrm>
        </p:spPr>
        <p:txBody>
          <a:bodyPr wrap="square" anchor="t">
            <a:normAutofit/>
          </a:bodyPr>
          <a:lstStyle/>
          <a:p>
            <a:r>
              <a:rPr lang="en-US"/>
              <a:t>AppSource vs. Azure Marketplace</a:t>
            </a:r>
          </a:p>
        </p:txBody>
      </p:sp>
      <p:sp>
        <p:nvSpPr>
          <p:cNvPr id="3" name="Content Placeholder 2">
            <a:extLst>
              <a:ext uri="{FF2B5EF4-FFF2-40B4-BE49-F238E27FC236}">
                <a16:creationId xmlns:a16="http://schemas.microsoft.com/office/drawing/2014/main" id="{8810F879-0D52-6206-A283-CE7E0B7E3C5D}"/>
              </a:ext>
            </a:extLst>
          </p:cNvPr>
          <p:cNvSpPr>
            <a:spLocks noGrp="1"/>
          </p:cNvSpPr>
          <p:nvPr>
            <p:ph sz="quarter" idx="12"/>
          </p:nvPr>
        </p:nvSpPr>
        <p:spPr>
          <a:xfrm>
            <a:off x="584200" y="1435100"/>
            <a:ext cx="5211763" cy="4833938"/>
          </a:xfrm>
        </p:spPr>
        <p:txBody>
          <a:bodyPr vert="horz" wrap="square" lIns="0" tIns="0" rIns="0" bIns="0" rtlCol="0">
            <a:normAutofit/>
          </a:bodyPr>
          <a:lstStyle/>
          <a:p>
            <a:r>
              <a:rPr lang="en-US" dirty="0"/>
              <a:t>Marketplace is specific to Azure</a:t>
            </a:r>
          </a:p>
          <a:p>
            <a:r>
              <a:rPr lang="en-US" dirty="0"/>
              <a:t>Microsoft AppSource is for:</a:t>
            </a:r>
          </a:p>
          <a:p>
            <a:pPr lvl="1"/>
            <a:r>
              <a:rPr lang="en-US" sz="2800" dirty="0"/>
              <a:t>Azure</a:t>
            </a:r>
          </a:p>
          <a:p>
            <a:pPr lvl="1"/>
            <a:r>
              <a:rPr lang="en-US" sz="2800" dirty="0"/>
              <a:t>M365</a:t>
            </a:r>
          </a:p>
          <a:p>
            <a:pPr lvl="1"/>
            <a:r>
              <a:rPr lang="en-US" sz="2800" dirty="0"/>
              <a:t>Microsoft Dynamics 365</a:t>
            </a:r>
          </a:p>
          <a:p>
            <a:pPr lvl="1"/>
            <a:r>
              <a:rPr lang="en-US" sz="2800" dirty="0"/>
              <a:t>Microsoft Power BI</a:t>
            </a:r>
          </a:p>
        </p:txBody>
      </p:sp>
      <p:pic>
        <p:nvPicPr>
          <p:cNvPr id="4" name="Picture 3" descr="A diagram of a company&amp;#39;s company&#10;&#10;Description automatically generated">
            <a:extLst>
              <a:ext uri="{FF2B5EF4-FFF2-40B4-BE49-F238E27FC236}">
                <a16:creationId xmlns:a16="http://schemas.microsoft.com/office/drawing/2014/main" id="{D255A024-B4AB-FD84-D159-4DDF08A8F07D}"/>
              </a:ext>
            </a:extLst>
          </p:cNvPr>
          <p:cNvPicPr>
            <a:picLocks noChangeAspect="1"/>
          </p:cNvPicPr>
          <p:nvPr/>
        </p:nvPicPr>
        <p:blipFill>
          <a:blip r:embed="rId3"/>
          <a:stretch>
            <a:fillRect/>
          </a:stretch>
        </p:blipFill>
        <p:spPr>
          <a:xfrm>
            <a:off x="6389688" y="2901600"/>
            <a:ext cx="5219700" cy="1900937"/>
          </a:xfrm>
          <a:prstGeom prst="rect">
            <a:avLst/>
          </a:prstGeom>
          <a:noFill/>
        </p:spPr>
      </p:pic>
    </p:spTree>
    <p:extLst>
      <p:ext uri="{BB962C8B-B14F-4D97-AF65-F5344CB8AC3E}">
        <p14:creationId xmlns:p14="http://schemas.microsoft.com/office/powerpoint/2010/main" val="3650723693"/>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3887C-60C2-A9BC-7D57-446E94505E95}"/>
              </a:ext>
            </a:extLst>
          </p:cNvPr>
          <p:cNvSpPr>
            <a:spLocks noGrp="1"/>
          </p:cNvSpPr>
          <p:nvPr>
            <p:ph type="title"/>
          </p:nvPr>
        </p:nvSpPr>
        <p:spPr/>
        <p:txBody>
          <a:bodyPr/>
          <a:lstStyle/>
          <a:p>
            <a:r>
              <a:rPr lang="en-US" dirty="0">
                <a:cs typeface="Segoe UI"/>
              </a:rPr>
              <a:t>Marketplace online store</a:t>
            </a:r>
            <a:endParaRPr lang="en-US" dirty="0"/>
          </a:p>
        </p:txBody>
      </p:sp>
      <p:sp>
        <p:nvSpPr>
          <p:cNvPr id="3" name="Content Placeholder 2">
            <a:extLst>
              <a:ext uri="{FF2B5EF4-FFF2-40B4-BE49-F238E27FC236}">
                <a16:creationId xmlns:a16="http://schemas.microsoft.com/office/drawing/2014/main" id="{24D5E07E-8C99-3236-E329-322D38F9456F}"/>
              </a:ext>
            </a:extLst>
          </p:cNvPr>
          <p:cNvSpPr>
            <a:spLocks noGrp="1"/>
          </p:cNvSpPr>
          <p:nvPr>
            <p:ph sz="quarter" idx="10"/>
          </p:nvPr>
        </p:nvSpPr>
        <p:spPr>
          <a:xfrm>
            <a:off x="584200" y="1435100"/>
            <a:ext cx="11018838" cy="3754874"/>
          </a:xfrm>
        </p:spPr>
        <p:txBody>
          <a:bodyPr vert="horz" wrap="square" lIns="0" tIns="0" rIns="0" bIns="0" rtlCol="0" anchor="t">
            <a:spAutoFit/>
          </a:bodyPr>
          <a:lstStyle/>
          <a:p>
            <a:r>
              <a:rPr lang="en-US">
                <a:cs typeface="Segoe UI"/>
              </a:rPr>
              <a:t>Apps</a:t>
            </a:r>
            <a:endParaRPr lang="en-US"/>
          </a:p>
          <a:p>
            <a:r>
              <a:rPr lang="en-US">
                <a:cs typeface="Segoe UI"/>
              </a:rPr>
              <a:t>Consulting Services</a:t>
            </a:r>
            <a:endParaRPr lang="en-US"/>
          </a:p>
          <a:p>
            <a:r>
              <a:rPr lang="en-US">
                <a:cs typeface="Segoe UI"/>
              </a:rPr>
              <a:t>Featured solutions</a:t>
            </a:r>
            <a:endParaRPr lang="en-US"/>
          </a:p>
          <a:p>
            <a:r>
              <a:rPr lang="en-US">
                <a:cs typeface="Segoe UI"/>
              </a:rPr>
              <a:t>Accessible through marketplace link:</a:t>
            </a:r>
            <a:endParaRPr lang="en-US"/>
          </a:p>
          <a:p>
            <a:pPr lvl="1"/>
            <a:r>
              <a:rPr lang="en-US">
                <a:ea typeface="+mn-lt"/>
                <a:cs typeface="+mn-lt"/>
                <a:hlinkClick r:id="rId2"/>
              </a:rPr>
              <a:t>https://azuremarketplace.microsoft.com/</a:t>
            </a:r>
            <a:endParaRPr lang="en-US">
              <a:ea typeface="+mn-lt"/>
              <a:cs typeface="+mn-lt"/>
            </a:endParaRPr>
          </a:p>
          <a:p>
            <a:r>
              <a:rPr lang="en-US">
                <a:cs typeface="Segoe UI"/>
              </a:rPr>
              <a:t>Accessible through Azure portal link:</a:t>
            </a:r>
          </a:p>
          <a:p>
            <a:pPr lvl="1"/>
            <a:r>
              <a:rPr lang="en-US">
                <a:cs typeface="Segoe UI"/>
                <a:hlinkClick r:id="rId3"/>
              </a:rPr>
              <a:t>https://portal.azure.com</a:t>
            </a:r>
            <a:endParaRPr lang="en-US">
              <a:cs typeface="Segoe UI"/>
            </a:endParaRPr>
          </a:p>
          <a:p>
            <a:r>
              <a:rPr lang="en-US">
                <a:cs typeface="Segoe UI"/>
              </a:rPr>
              <a:t>Browse, Search, or Filter to find apps or consulting services</a:t>
            </a:r>
          </a:p>
        </p:txBody>
      </p:sp>
    </p:spTree>
    <p:extLst>
      <p:ext uri="{BB962C8B-B14F-4D97-AF65-F5344CB8AC3E}">
        <p14:creationId xmlns:p14="http://schemas.microsoft.com/office/powerpoint/2010/main" val="69462224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ED4149-7D80-DC24-D85C-E8F8E2138C6D}"/>
              </a:ext>
            </a:extLst>
          </p:cNvPr>
          <p:cNvSpPr>
            <a:spLocks noGrp="1"/>
          </p:cNvSpPr>
          <p:nvPr>
            <p:ph type="title"/>
          </p:nvPr>
        </p:nvSpPr>
        <p:spPr>
          <a:xfrm>
            <a:off x="588263" y="457200"/>
            <a:ext cx="11018520" cy="553998"/>
          </a:xfrm>
        </p:spPr>
        <p:txBody>
          <a:bodyPr wrap="square" anchor="t">
            <a:normAutofit/>
          </a:bodyPr>
          <a:lstStyle/>
          <a:p>
            <a:r>
              <a:rPr lang="en-US" dirty="0"/>
              <a:t>Exercise – Search for Free Apps on Windows OS</a:t>
            </a:r>
          </a:p>
        </p:txBody>
      </p:sp>
      <p:graphicFrame>
        <p:nvGraphicFramePr>
          <p:cNvPr id="5" name="Content Placeholder 2">
            <a:extLst>
              <a:ext uri="{FF2B5EF4-FFF2-40B4-BE49-F238E27FC236}">
                <a16:creationId xmlns:a16="http://schemas.microsoft.com/office/drawing/2014/main" id="{F1C54563-A4E7-4C95-AE2A-C0580B3CA81E}"/>
              </a:ext>
            </a:extLst>
          </p:cNvPr>
          <p:cNvGraphicFramePr>
            <a:graphicFrameLocks noGrp="1"/>
          </p:cNvGraphicFramePr>
          <p:nvPr>
            <p:ph sz="quarter" idx="10"/>
            <p:extLst>
              <p:ext uri="{D42A27DB-BD31-4B8C-83A1-F6EECF244321}">
                <p14:modId xmlns:p14="http://schemas.microsoft.com/office/powerpoint/2010/main" val="500087682"/>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47590927"/>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ED4149-7D80-DC24-D85C-E8F8E2138C6D}"/>
              </a:ext>
            </a:extLst>
          </p:cNvPr>
          <p:cNvSpPr>
            <a:spLocks noGrp="1"/>
          </p:cNvSpPr>
          <p:nvPr>
            <p:ph type="title"/>
          </p:nvPr>
        </p:nvSpPr>
        <p:spPr>
          <a:xfrm>
            <a:off x="588263" y="457200"/>
            <a:ext cx="11018520" cy="553998"/>
          </a:xfrm>
        </p:spPr>
        <p:txBody>
          <a:bodyPr wrap="square" anchor="t">
            <a:normAutofit/>
          </a:bodyPr>
          <a:lstStyle/>
          <a:p>
            <a:r>
              <a:rPr lang="en-US"/>
              <a:t>Exercise – Search for Paid Apps on Windows</a:t>
            </a:r>
          </a:p>
        </p:txBody>
      </p:sp>
      <p:graphicFrame>
        <p:nvGraphicFramePr>
          <p:cNvPr id="5" name="Content Placeholder 2">
            <a:extLst>
              <a:ext uri="{FF2B5EF4-FFF2-40B4-BE49-F238E27FC236}">
                <a16:creationId xmlns:a16="http://schemas.microsoft.com/office/drawing/2014/main" id="{B7A53284-6647-FE5D-20C3-715E935142A9}"/>
              </a:ext>
            </a:extLst>
          </p:cNvPr>
          <p:cNvGraphicFramePr>
            <a:graphicFrameLocks noGrp="1"/>
          </p:cNvGraphicFramePr>
          <p:nvPr>
            <p:ph sz="quarter" idx="10"/>
            <p:extLst>
              <p:ext uri="{D42A27DB-BD31-4B8C-83A1-F6EECF244321}">
                <p14:modId xmlns:p14="http://schemas.microsoft.com/office/powerpoint/2010/main" val="1666033425"/>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716502182"/>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ED4149-7D80-DC24-D85C-E8F8E2138C6D}"/>
              </a:ext>
            </a:extLst>
          </p:cNvPr>
          <p:cNvSpPr>
            <a:spLocks noGrp="1"/>
          </p:cNvSpPr>
          <p:nvPr>
            <p:ph type="title"/>
          </p:nvPr>
        </p:nvSpPr>
        <p:spPr>
          <a:xfrm>
            <a:off x="588263" y="457200"/>
            <a:ext cx="11018520" cy="553998"/>
          </a:xfrm>
        </p:spPr>
        <p:txBody>
          <a:bodyPr wrap="square" anchor="t">
            <a:normAutofit/>
          </a:bodyPr>
          <a:lstStyle/>
          <a:p>
            <a:r>
              <a:rPr lang="en-US"/>
              <a:t>Exercise – Search for Free Consulting Services</a:t>
            </a:r>
          </a:p>
        </p:txBody>
      </p:sp>
      <p:graphicFrame>
        <p:nvGraphicFramePr>
          <p:cNvPr id="5" name="Content Placeholder 2">
            <a:extLst>
              <a:ext uri="{FF2B5EF4-FFF2-40B4-BE49-F238E27FC236}">
                <a16:creationId xmlns:a16="http://schemas.microsoft.com/office/drawing/2014/main" id="{F0FC495E-D653-EBE3-078E-A8B68A55A8FA}"/>
              </a:ext>
            </a:extLst>
          </p:cNvPr>
          <p:cNvGraphicFramePr>
            <a:graphicFrameLocks noGrp="1"/>
          </p:cNvGraphicFramePr>
          <p:nvPr>
            <p:ph sz="quarter" idx="10"/>
            <p:extLst>
              <p:ext uri="{D42A27DB-BD31-4B8C-83A1-F6EECF244321}">
                <p14:modId xmlns:p14="http://schemas.microsoft.com/office/powerpoint/2010/main" val="917144495"/>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214484181"/>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ED4149-7D80-DC24-D85C-E8F8E2138C6D}"/>
              </a:ext>
            </a:extLst>
          </p:cNvPr>
          <p:cNvSpPr>
            <a:spLocks noGrp="1"/>
          </p:cNvSpPr>
          <p:nvPr>
            <p:ph type="title"/>
          </p:nvPr>
        </p:nvSpPr>
        <p:spPr>
          <a:xfrm>
            <a:off x="588263" y="457200"/>
            <a:ext cx="11018520" cy="553998"/>
          </a:xfrm>
        </p:spPr>
        <p:txBody>
          <a:bodyPr wrap="square" anchor="t">
            <a:normAutofit/>
          </a:bodyPr>
          <a:lstStyle/>
          <a:p>
            <a:r>
              <a:rPr lang="en-US"/>
              <a:t>Exercise – Search for Paid Consulting Services</a:t>
            </a:r>
          </a:p>
        </p:txBody>
      </p:sp>
      <p:graphicFrame>
        <p:nvGraphicFramePr>
          <p:cNvPr id="7" name="Content Placeholder 2">
            <a:extLst>
              <a:ext uri="{FF2B5EF4-FFF2-40B4-BE49-F238E27FC236}">
                <a16:creationId xmlns:a16="http://schemas.microsoft.com/office/drawing/2014/main" id="{6FB2ABBF-1AE7-AF32-9A14-05415C0B9088}"/>
              </a:ext>
            </a:extLst>
          </p:cNvPr>
          <p:cNvGraphicFramePr/>
          <p:nvPr>
            <p:extLst>
              <p:ext uri="{D42A27DB-BD31-4B8C-83A1-F6EECF244321}">
                <p14:modId xmlns:p14="http://schemas.microsoft.com/office/powerpoint/2010/main" val="1631787416"/>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836223342"/>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E1C2FB-1BCB-1AC0-8E24-2129DA75AB20}"/>
              </a:ext>
            </a:extLst>
          </p:cNvPr>
          <p:cNvSpPr>
            <a:spLocks noGrp="1"/>
          </p:cNvSpPr>
          <p:nvPr>
            <p:ph type="title"/>
          </p:nvPr>
        </p:nvSpPr>
        <p:spPr>
          <a:xfrm>
            <a:off x="585216" y="2930402"/>
            <a:ext cx="9144000" cy="997196"/>
          </a:xfrm>
        </p:spPr>
        <p:txBody>
          <a:bodyPr/>
          <a:lstStyle/>
          <a:p>
            <a:r>
              <a:rPr lang="en-US">
                <a:cs typeface="Segoe UI"/>
              </a:rPr>
              <a:t>Creating Offers and Purchasing in Marketplace</a:t>
            </a:r>
          </a:p>
        </p:txBody>
      </p:sp>
    </p:spTree>
    <p:extLst>
      <p:ext uri="{BB962C8B-B14F-4D97-AF65-F5344CB8AC3E}">
        <p14:creationId xmlns:p14="http://schemas.microsoft.com/office/powerpoint/2010/main" val="823722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18A146-7202-24EA-7B4D-99C422D5DB3F}"/>
              </a:ext>
            </a:extLst>
          </p:cNvPr>
          <p:cNvSpPr>
            <a:spLocks noGrp="1"/>
          </p:cNvSpPr>
          <p:nvPr>
            <p:ph type="title"/>
          </p:nvPr>
        </p:nvSpPr>
        <p:spPr>
          <a:xfrm>
            <a:off x="588263" y="457200"/>
            <a:ext cx="11018520" cy="553998"/>
          </a:xfrm>
        </p:spPr>
        <p:txBody>
          <a:bodyPr wrap="square" anchor="t">
            <a:normAutofit/>
          </a:bodyPr>
          <a:lstStyle/>
          <a:p>
            <a:r>
              <a:rPr lang="en-US"/>
              <a:t>How does purchasing work in Azure Marketplace?</a:t>
            </a:r>
          </a:p>
        </p:txBody>
      </p:sp>
      <p:graphicFrame>
        <p:nvGraphicFramePr>
          <p:cNvPr id="5" name="Content Placeholder 2">
            <a:extLst>
              <a:ext uri="{FF2B5EF4-FFF2-40B4-BE49-F238E27FC236}">
                <a16:creationId xmlns:a16="http://schemas.microsoft.com/office/drawing/2014/main" id="{10573158-EC09-2CD0-C66A-15179B89CFF1}"/>
              </a:ext>
            </a:extLst>
          </p:cNvPr>
          <p:cNvGraphicFramePr>
            <a:graphicFrameLocks noGrp="1"/>
          </p:cNvGraphicFramePr>
          <p:nvPr>
            <p:ph sz="quarter" idx="10"/>
            <p:extLst>
              <p:ext uri="{D42A27DB-BD31-4B8C-83A1-F6EECF244321}">
                <p14:modId xmlns:p14="http://schemas.microsoft.com/office/powerpoint/2010/main" val="3446208658"/>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030514790"/>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BF3AE4B-3EA7-75FF-18D7-548B95D8E1BA}"/>
              </a:ext>
            </a:extLst>
          </p:cNvPr>
          <p:cNvSpPr>
            <a:spLocks noGrp="1"/>
          </p:cNvSpPr>
          <p:nvPr>
            <p:ph type="title"/>
          </p:nvPr>
        </p:nvSpPr>
        <p:spPr>
          <a:xfrm>
            <a:off x="588263" y="457200"/>
            <a:ext cx="11018520" cy="553998"/>
          </a:xfrm>
        </p:spPr>
        <p:txBody>
          <a:bodyPr/>
          <a:lstStyle/>
          <a:p>
            <a:r>
              <a:rPr lang="en-US">
                <a:cs typeface="Segoe UI"/>
              </a:rPr>
              <a:t>Marketplace Rewards</a:t>
            </a:r>
            <a:endParaRPr lang="en-US"/>
          </a:p>
        </p:txBody>
      </p:sp>
      <p:sp>
        <p:nvSpPr>
          <p:cNvPr id="11" name="Content Placeholder 2">
            <a:extLst>
              <a:ext uri="{FF2B5EF4-FFF2-40B4-BE49-F238E27FC236}">
                <a16:creationId xmlns:a16="http://schemas.microsoft.com/office/drawing/2014/main" id="{3B24F147-897F-D0FA-7F06-E54B8BFE774E}"/>
              </a:ext>
            </a:extLst>
          </p:cNvPr>
          <p:cNvSpPr>
            <a:spLocks noGrp="1"/>
          </p:cNvSpPr>
          <p:nvPr>
            <p:ph sz="quarter" idx="12"/>
          </p:nvPr>
        </p:nvSpPr>
        <p:spPr>
          <a:xfrm>
            <a:off x="584200" y="1435100"/>
            <a:ext cx="4551363" cy="2609945"/>
          </a:xfrm>
        </p:spPr>
        <p:txBody>
          <a:bodyPr vert="horz" wrap="square" lIns="0" tIns="0" rIns="0" bIns="0" rtlCol="0" anchor="t">
            <a:spAutoFit/>
          </a:bodyPr>
          <a:lstStyle/>
          <a:p>
            <a:r>
              <a:rPr lang="en-US">
                <a:cs typeface="Segoe UI"/>
              </a:rPr>
              <a:t>Published offers receive different tiers of support based on the transaction type.</a:t>
            </a:r>
            <a:endParaRPr lang="en-US"/>
          </a:p>
          <a:p>
            <a:endParaRPr lang="en-US"/>
          </a:p>
          <a:p>
            <a:pPr lvl="1"/>
            <a:r>
              <a:rPr lang="en-US">
                <a:ea typeface="+mn-lt"/>
                <a:cs typeface="+mn-lt"/>
              </a:rPr>
              <a:t>https://aka.ms/joinmarketplace</a:t>
            </a:r>
            <a:endParaRPr lang="en-US"/>
          </a:p>
        </p:txBody>
      </p:sp>
      <p:pic>
        <p:nvPicPr>
          <p:cNvPr id="4" name="Content Placeholder 3" descr="A chart of customer experience results&#10;&#10;Description automatically generated">
            <a:extLst>
              <a:ext uri="{FF2B5EF4-FFF2-40B4-BE49-F238E27FC236}">
                <a16:creationId xmlns:a16="http://schemas.microsoft.com/office/drawing/2014/main" id="{DCF172A3-9D30-C3A8-50DE-0495D0872A8B}"/>
              </a:ext>
            </a:extLst>
          </p:cNvPr>
          <p:cNvPicPr>
            <a:picLocks noGrp="1" noChangeAspect="1"/>
          </p:cNvPicPr>
          <p:nvPr>
            <p:ph sz="quarter" idx="13"/>
          </p:nvPr>
        </p:nvPicPr>
        <p:blipFill>
          <a:blip r:embed="rId2"/>
          <a:stretch>
            <a:fillRect/>
          </a:stretch>
        </p:blipFill>
        <p:spPr>
          <a:xfrm>
            <a:off x="5187422" y="1935296"/>
            <a:ext cx="6481232" cy="3638813"/>
          </a:xfrm>
          <a:noFill/>
        </p:spPr>
      </p:pic>
    </p:spTree>
    <p:extLst>
      <p:ext uri="{BB962C8B-B14F-4D97-AF65-F5344CB8AC3E}">
        <p14:creationId xmlns:p14="http://schemas.microsoft.com/office/powerpoint/2010/main" val="1568180102"/>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39F5C4-843E-DBAD-044B-1872C9832914}"/>
              </a:ext>
            </a:extLst>
          </p:cNvPr>
          <p:cNvSpPr>
            <a:spLocks noGrp="1"/>
          </p:cNvSpPr>
          <p:nvPr>
            <p:ph type="title"/>
          </p:nvPr>
        </p:nvSpPr>
        <p:spPr>
          <a:xfrm>
            <a:off x="588263" y="457200"/>
            <a:ext cx="11018520" cy="553998"/>
          </a:xfrm>
        </p:spPr>
        <p:txBody>
          <a:bodyPr wrap="square" anchor="t">
            <a:normAutofit/>
          </a:bodyPr>
          <a:lstStyle/>
          <a:p>
            <a:r>
              <a:rPr lang="en-US" dirty="0">
                <a:cs typeface="Segoe UI"/>
              </a:rPr>
              <a:t>Purchasing Options</a:t>
            </a:r>
            <a:endParaRPr lang="en-US" dirty="0"/>
          </a:p>
        </p:txBody>
      </p:sp>
      <p:sp>
        <p:nvSpPr>
          <p:cNvPr id="9" name="Content Placeholder 2">
            <a:extLst>
              <a:ext uri="{FF2B5EF4-FFF2-40B4-BE49-F238E27FC236}">
                <a16:creationId xmlns:a16="http://schemas.microsoft.com/office/drawing/2014/main" id="{7239C8F0-B9DF-87A5-21C6-7F2244DB4517}"/>
              </a:ext>
            </a:extLst>
          </p:cNvPr>
          <p:cNvSpPr>
            <a:spLocks noGrp="1"/>
          </p:cNvSpPr>
          <p:nvPr>
            <p:ph sz="quarter" idx="12"/>
          </p:nvPr>
        </p:nvSpPr>
        <p:spPr>
          <a:xfrm>
            <a:off x="584201" y="1435100"/>
            <a:ext cx="4103710" cy="2843855"/>
          </a:xfrm>
        </p:spPr>
        <p:txBody>
          <a:bodyPr vert="horz" wrap="square" lIns="0" tIns="0" rIns="0" bIns="0" rtlCol="0" anchor="t">
            <a:spAutoFit/>
          </a:bodyPr>
          <a:lstStyle/>
          <a:p>
            <a:r>
              <a:rPr lang="en-US" dirty="0">
                <a:cs typeface="Segoe UI"/>
              </a:rPr>
              <a:t>Online stores</a:t>
            </a:r>
            <a:endParaRPr lang="en-US" dirty="0"/>
          </a:p>
          <a:p>
            <a:r>
              <a:rPr lang="en-US" dirty="0">
                <a:cs typeface="Segoe UI"/>
              </a:rPr>
              <a:t>Within Microsoft Products</a:t>
            </a:r>
          </a:p>
          <a:p>
            <a:r>
              <a:rPr lang="en-US" dirty="0">
                <a:cs typeface="Segoe UI"/>
              </a:rPr>
              <a:t>Through CSP partners</a:t>
            </a:r>
            <a:endParaRPr lang="en-US" dirty="0"/>
          </a:p>
          <a:p>
            <a:r>
              <a:rPr lang="en-US" dirty="0">
                <a:cs typeface="Segoe UI"/>
              </a:rPr>
              <a:t>Microsoft sales through co-sell</a:t>
            </a:r>
            <a:endParaRPr lang="en-US" dirty="0"/>
          </a:p>
        </p:txBody>
      </p:sp>
      <p:pic>
        <p:nvPicPr>
          <p:cNvPr id="4" name="Content Placeholder 3" descr="A diagram of a company&#10;&#10;Description automatically generated">
            <a:extLst>
              <a:ext uri="{FF2B5EF4-FFF2-40B4-BE49-F238E27FC236}">
                <a16:creationId xmlns:a16="http://schemas.microsoft.com/office/drawing/2014/main" id="{5AF45389-AE37-8E5F-A9DE-5C05DCB87D6A}"/>
              </a:ext>
            </a:extLst>
          </p:cNvPr>
          <p:cNvPicPr>
            <a:picLocks noGrp="1" noChangeAspect="1"/>
          </p:cNvPicPr>
          <p:nvPr>
            <p:ph sz="quarter" idx="13"/>
          </p:nvPr>
        </p:nvPicPr>
        <p:blipFill>
          <a:blip r:embed="rId3"/>
          <a:stretch>
            <a:fillRect/>
          </a:stretch>
        </p:blipFill>
        <p:spPr>
          <a:xfrm>
            <a:off x="4798737" y="1328356"/>
            <a:ext cx="7145502" cy="4019343"/>
          </a:xfrm>
          <a:noFill/>
        </p:spPr>
      </p:pic>
    </p:spTree>
    <p:extLst>
      <p:ext uri="{BB962C8B-B14F-4D97-AF65-F5344CB8AC3E}">
        <p14:creationId xmlns:p14="http://schemas.microsoft.com/office/powerpoint/2010/main" val="364993659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ctangle: Top Corners Rounded 45">
            <a:extLst>
              <a:ext uri="{FF2B5EF4-FFF2-40B4-BE49-F238E27FC236}">
                <a16:creationId xmlns:a16="http://schemas.microsoft.com/office/drawing/2014/main" id="{6F5AF09D-AEB6-83FB-D53A-D1BA1C4AC6B2}"/>
              </a:ext>
            </a:extLst>
          </p:cNvPr>
          <p:cNvSpPr/>
          <p:nvPr/>
        </p:nvSpPr>
        <p:spPr bwMode="auto">
          <a:xfrm rot="16200000" flipH="1">
            <a:off x="4651375" y="1552575"/>
            <a:ext cx="6858000" cy="3752850"/>
          </a:xfrm>
          <a:prstGeom prst="round2SameRect">
            <a:avLst>
              <a:gd name="adj1" fmla="val 6555"/>
              <a:gd name="adj2" fmla="val 0"/>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6" name="Freeform: Shape 15">
            <a:extLst>
              <a:ext uri="{FF2B5EF4-FFF2-40B4-BE49-F238E27FC236}">
                <a16:creationId xmlns:a16="http://schemas.microsoft.com/office/drawing/2014/main" id="{5F1397DA-2DA8-5E4D-55E1-E94E21AC88EB}"/>
              </a:ext>
            </a:extLst>
          </p:cNvPr>
          <p:cNvSpPr/>
          <p:nvPr/>
        </p:nvSpPr>
        <p:spPr bwMode="auto">
          <a:xfrm>
            <a:off x="-1" y="1331686"/>
            <a:ext cx="5878287" cy="4949371"/>
          </a:xfrm>
          <a:custGeom>
            <a:avLst/>
            <a:gdLst>
              <a:gd name="connsiteX0" fmla="*/ 0 w 5878287"/>
              <a:gd name="connsiteY0" fmla="*/ 0 h 4949371"/>
              <a:gd name="connsiteX1" fmla="*/ 5640132 w 5878287"/>
              <a:gd name="connsiteY1" fmla="*/ 0 h 4949371"/>
              <a:gd name="connsiteX2" fmla="*/ 5878287 w 5878287"/>
              <a:gd name="connsiteY2" fmla="*/ 238155 h 4949371"/>
              <a:gd name="connsiteX3" fmla="*/ 5878287 w 5878287"/>
              <a:gd name="connsiteY3" fmla="*/ 615526 h 4949371"/>
              <a:gd name="connsiteX4" fmla="*/ 5878287 w 5878287"/>
              <a:gd name="connsiteY4" fmla="*/ 4572000 h 4949371"/>
              <a:gd name="connsiteX5" fmla="*/ 5878287 w 5878287"/>
              <a:gd name="connsiteY5" fmla="*/ 4949371 h 4949371"/>
              <a:gd name="connsiteX6" fmla="*/ 0 w 5878287"/>
              <a:gd name="connsiteY6" fmla="*/ 4949371 h 4949371"/>
              <a:gd name="connsiteX7" fmla="*/ 0 w 5878287"/>
              <a:gd name="connsiteY7" fmla="*/ 4572000 h 4949371"/>
              <a:gd name="connsiteX8" fmla="*/ 0 w 5878287"/>
              <a:gd name="connsiteY8" fmla="*/ 377371 h 4949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78287" h="4949371">
                <a:moveTo>
                  <a:pt x="0" y="0"/>
                </a:moveTo>
                <a:lnTo>
                  <a:pt x="5640132" y="0"/>
                </a:lnTo>
                <a:cubicBezTo>
                  <a:pt x="5771661" y="0"/>
                  <a:pt x="5878287" y="106626"/>
                  <a:pt x="5878287" y="238155"/>
                </a:cubicBezTo>
                <a:lnTo>
                  <a:pt x="5878287" y="615526"/>
                </a:lnTo>
                <a:lnTo>
                  <a:pt x="5878287" y="4572000"/>
                </a:lnTo>
                <a:lnTo>
                  <a:pt x="5878287" y="4949371"/>
                </a:lnTo>
                <a:lnTo>
                  <a:pt x="0" y="4949371"/>
                </a:lnTo>
                <a:lnTo>
                  <a:pt x="0" y="4572000"/>
                </a:lnTo>
                <a:lnTo>
                  <a:pt x="0" y="377371"/>
                </a:lnTo>
                <a:close/>
              </a:path>
            </a:pathLst>
          </a:cu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 name="Title 3">
            <a:extLst>
              <a:ext uri="{FF2B5EF4-FFF2-40B4-BE49-F238E27FC236}">
                <a16:creationId xmlns:a16="http://schemas.microsoft.com/office/drawing/2014/main" id="{4AA96B8A-9E77-484B-895D-1D4F6C4A6230}"/>
              </a:ext>
            </a:extLst>
          </p:cNvPr>
          <p:cNvSpPr txBox="1">
            <a:spLocks noGrp="1"/>
          </p:cNvSpPr>
          <p:nvPr>
            <p:ph type="title"/>
          </p:nvPr>
        </p:nvSpPr>
        <p:spPr>
          <a:xfrm>
            <a:off x="588263" y="457200"/>
            <a:ext cx="11018520" cy="492443"/>
          </a:xfrm>
        </p:spPr>
        <p:txBody>
          <a:bodyPr/>
          <a:lstStyle/>
          <a:p>
            <a:pPr lvl="0"/>
            <a:r>
              <a:rPr lang="en-US"/>
              <a:t>Learning objectives</a:t>
            </a:r>
            <a:endParaRPr lang="en-US" noProof="0"/>
          </a:p>
        </p:txBody>
      </p:sp>
      <p:sp>
        <p:nvSpPr>
          <p:cNvPr id="3" name="TextBox 2" descr="What's in it for you?">
            <a:extLst>
              <a:ext uri="{FF2B5EF4-FFF2-40B4-BE49-F238E27FC236}">
                <a16:creationId xmlns:a16="http://schemas.microsoft.com/office/drawing/2014/main" id="{41C43400-4EE3-4475-B344-69801D1D618F}"/>
              </a:ext>
            </a:extLst>
          </p:cNvPr>
          <p:cNvSpPr txBox="1"/>
          <p:nvPr/>
        </p:nvSpPr>
        <p:spPr>
          <a:xfrm>
            <a:off x="532290" y="1030576"/>
            <a:ext cx="5963760" cy="603242"/>
          </a:xfrm>
          <a:prstGeom prst="rect">
            <a:avLst/>
          </a:prstGeom>
          <a:noFill/>
        </p:spPr>
        <p:txBody>
          <a:bodyPr wrap="square" lIns="182880" tIns="146304" rIns="182880" bIns="146304" rtlCol="0" anchor="t">
            <a:spAutoFit/>
          </a:bodyPr>
          <a:lstStyle/>
          <a:p>
            <a:pPr marL="342900" marR="0" lvl="0" indent="-342900" algn="l" defTabSz="914400" rtl="0" eaLnBrk="1" fontAlgn="auto" latinLnBrk="0" hangingPunct="1">
              <a:spcBef>
                <a:spcPts val="0"/>
              </a:spcBef>
              <a:spcAft>
                <a:spcPts val="600"/>
              </a:spcAft>
              <a:buClrTx/>
              <a:buSzTx/>
              <a:buFont typeface="Wingdings" panose="05000000000000000000" pitchFamily="2" charset="2"/>
              <a:buChar char="§"/>
              <a:tabLst/>
              <a:defRPr/>
            </a:pPr>
            <a:endParaRPr kumimoji="0" lang="en-US" sz="2000" b="0" i="0" u="none" strike="noStrike" kern="1200" cap="none" spc="0" normalizeH="0" baseline="0" noProof="0">
              <a:ln>
                <a:noFill/>
              </a:ln>
              <a:solidFill>
                <a:srgbClr val="505050"/>
              </a:solidFill>
              <a:effectLst/>
              <a:uLnTx/>
              <a:uFillTx/>
              <a:latin typeface="Segoe UI"/>
              <a:ea typeface="+mn-ea"/>
              <a:cs typeface="+mn-cs"/>
            </a:endParaRPr>
          </a:p>
        </p:txBody>
      </p:sp>
      <p:pic>
        <p:nvPicPr>
          <p:cNvPr id="44" name="Picture 43" descr="A person giving a presentation&#10;&#10;Description automatically generated with medium confidence">
            <a:extLst>
              <a:ext uri="{FF2B5EF4-FFF2-40B4-BE49-F238E27FC236}">
                <a16:creationId xmlns:a16="http://schemas.microsoft.com/office/drawing/2014/main" id="{3B4C718D-15CD-EBDE-3CE3-3C72F35C637E}"/>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5313" r="29757"/>
          <a:stretch/>
        </p:blipFill>
        <p:spPr>
          <a:xfrm>
            <a:off x="6254750" y="0"/>
            <a:ext cx="5937249" cy="6858000"/>
          </a:xfrm>
          <a:custGeom>
            <a:avLst/>
            <a:gdLst>
              <a:gd name="connsiteX0" fmla="*/ 245999 w 5937249"/>
              <a:gd name="connsiteY0" fmla="*/ 0 h 6858000"/>
              <a:gd name="connsiteX1" fmla="*/ 2430398 w 5937249"/>
              <a:gd name="connsiteY1" fmla="*/ 0 h 6858000"/>
              <a:gd name="connsiteX2" fmla="*/ 3752849 w 5937249"/>
              <a:gd name="connsiteY2" fmla="*/ 0 h 6858000"/>
              <a:gd name="connsiteX3" fmla="*/ 5937249 w 5937249"/>
              <a:gd name="connsiteY3" fmla="*/ 0 h 6858000"/>
              <a:gd name="connsiteX4" fmla="*/ 5937249 w 5937249"/>
              <a:gd name="connsiteY4" fmla="*/ 6858000 h 6858000"/>
              <a:gd name="connsiteX5" fmla="*/ 3752849 w 5937249"/>
              <a:gd name="connsiteY5" fmla="*/ 6858000 h 6858000"/>
              <a:gd name="connsiteX6" fmla="*/ 2430398 w 5937249"/>
              <a:gd name="connsiteY6" fmla="*/ 6858000 h 6858000"/>
              <a:gd name="connsiteX7" fmla="*/ 245999 w 5937249"/>
              <a:gd name="connsiteY7" fmla="*/ 6858000 h 6858000"/>
              <a:gd name="connsiteX8" fmla="*/ 0 w 5937249"/>
              <a:gd name="connsiteY8" fmla="*/ 6612002 h 6858000"/>
              <a:gd name="connsiteX9" fmla="*/ 0 w 5937249"/>
              <a:gd name="connsiteY9" fmla="*/ 245999 h 6858000"/>
              <a:gd name="connsiteX10" fmla="*/ 245999 w 5937249"/>
              <a:gd name="connsiteY10"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37249" h="6858000">
                <a:moveTo>
                  <a:pt x="245999" y="0"/>
                </a:moveTo>
                <a:lnTo>
                  <a:pt x="2430398" y="0"/>
                </a:lnTo>
                <a:lnTo>
                  <a:pt x="3752849" y="0"/>
                </a:lnTo>
                <a:lnTo>
                  <a:pt x="5937249" y="0"/>
                </a:lnTo>
                <a:lnTo>
                  <a:pt x="5937249" y="6858000"/>
                </a:lnTo>
                <a:lnTo>
                  <a:pt x="3752849" y="6858000"/>
                </a:lnTo>
                <a:lnTo>
                  <a:pt x="2430398" y="6858000"/>
                </a:lnTo>
                <a:lnTo>
                  <a:pt x="245999" y="6858000"/>
                </a:lnTo>
                <a:cubicBezTo>
                  <a:pt x="110137" y="6858000"/>
                  <a:pt x="0" y="6747862"/>
                  <a:pt x="0" y="6612002"/>
                </a:cubicBezTo>
                <a:lnTo>
                  <a:pt x="0" y="245999"/>
                </a:lnTo>
                <a:cubicBezTo>
                  <a:pt x="0" y="110138"/>
                  <a:pt x="110137" y="0"/>
                  <a:pt x="245999" y="0"/>
                </a:cubicBezTo>
                <a:close/>
              </a:path>
            </a:pathLst>
          </a:custGeom>
        </p:spPr>
      </p:pic>
      <p:sp>
        <p:nvSpPr>
          <p:cNvPr id="11" name="TextBox 10">
            <a:extLst>
              <a:ext uri="{FF2B5EF4-FFF2-40B4-BE49-F238E27FC236}">
                <a16:creationId xmlns:a16="http://schemas.microsoft.com/office/drawing/2014/main" id="{4CDBBAB8-E9CB-47C6-E69D-F17DB5F47E42}"/>
              </a:ext>
            </a:extLst>
          </p:cNvPr>
          <p:cNvSpPr txBox="1"/>
          <p:nvPr/>
        </p:nvSpPr>
        <p:spPr>
          <a:xfrm>
            <a:off x="588263" y="1445533"/>
            <a:ext cx="5111497" cy="492443"/>
          </a:xfrm>
          <a:prstGeom prst="rect">
            <a:avLst/>
          </a:prstGeom>
          <a:noFill/>
        </p:spPr>
        <p:txBody>
          <a:bodyPr wrap="square" lIns="0" tIns="0" rIns="0" bIns="0" anchor="t">
            <a:spAutoFit/>
          </a:bodyPr>
          <a:lstStyle/>
          <a:p>
            <a:pPr fontAlgn="base">
              <a:defRPr/>
            </a:pPr>
            <a:r>
              <a:rPr kumimoji="0" lang="en-US" sz="1600" b="1" i="0" u="none" strike="noStrike" kern="1200" cap="none" spc="0" normalizeH="0" baseline="0" noProof="0">
                <a:ln>
                  <a:noFill/>
                </a:ln>
                <a:solidFill>
                  <a:schemeClr val="accent1"/>
                </a:solidFill>
                <a:effectLst/>
                <a:uLnTx/>
                <a:uFillTx/>
                <a:ea typeface="Times New Roman" panose="02020603050405020304" pitchFamily="18" charset="0"/>
                <a:cs typeface="+mn-cs"/>
              </a:rPr>
              <a:t>In this workshop, you will participate in </a:t>
            </a:r>
            <a:r>
              <a:rPr lang="en-US" sz="1600" b="1">
                <a:solidFill>
                  <a:schemeClr val="accent1"/>
                </a:solidFill>
                <a:ea typeface="Times New Roman" panose="02020603050405020304" pitchFamily="18" charset="0"/>
              </a:rPr>
              <a:t>lecture and group activities</a:t>
            </a:r>
            <a:r>
              <a:rPr kumimoji="0" lang="en-US" sz="1600" b="1" i="0" u="none" strike="noStrike" kern="1200" cap="none" spc="0" normalizeH="0" baseline="0" noProof="0">
                <a:ln>
                  <a:noFill/>
                </a:ln>
                <a:solidFill>
                  <a:schemeClr val="accent1"/>
                </a:solidFill>
                <a:effectLst/>
                <a:uLnTx/>
                <a:uFillTx/>
                <a:ea typeface="Times New Roman" panose="02020603050405020304" pitchFamily="18" charset="0"/>
                <a:cs typeface="+mn-cs"/>
              </a:rPr>
              <a:t> to accomplish the following items:</a:t>
            </a:r>
            <a:r>
              <a:rPr lang="en-US" sz="1600" b="1">
                <a:solidFill>
                  <a:schemeClr val="accent1"/>
                </a:solidFill>
                <a:ea typeface="Times New Roman" panose="02020603050405020304" pitchFamily="18" charset="0"/>
              </a:rPr>
              <a:t> </a:t>
            </a:r>
            <a:endParaRPr kumimoji="0" lang="en-US" sz="1600" b="1" i="0" u="none" strike="noStrike" kern="1200" cap="none" spc="0" normalizeH="0" baseline="0" noProof="0">
              <a:ln>
                <a:noFill/>
              </a:ln>
              <a:solidFill>
                <a:schemeClr val="accent1"/>
              </a:solidFill>
              <a:effectLst/>
              <a:uLnTx/>
              <a:uFillTx/>
              <a:ea typeface="Times New Roman" panose="02020603050405020304" pitchFamily="18" charset="0"/>
              <a:cs typeface="+mn-cs"/>
            </a:endParaRPr>
          </a:p>
        </p:txBody>
      </p:sp>
      <p:sp>
        <p:nvSpPr>
          <p:cNvPr id="18" name="Freeform: Shape 11">
            <a:extLst>
              <a:ext uri="{FF2B5EF4-FFF2-40B4-BE49-F238E27FC236}">
                <a16:creationId xmlns:a16="http://schemas.microsoft.com/office/drawing/2014/main" id="{5C0CAE97-2245-1BA1-BDC4-68CAFA254E72}"/>
              </a:ext>
            </a:extLst>
          </p:cNvPr>
          <p:cNvSpPr>
            <a:spLocks/>
          </p:cNvSpPr>
          <p:nvPr/>
        </p:nvSpPr>
        <p:spPr bwMode="auto">
          <a:xfrm>
            <a:off x="672083" y="2182174"/>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Freeform: Shape 11">
            <a:extLst>
              <a:ext uri="{FF2B5EF4-FFF2-40B4-BE49-F238E27FC236}">
                <a16:creationId xmlns:a16="http://schemas.microsoft.com/office/drawing/2014/main" id="{850A8630-F93A-5083-907E-5DD178CD371D}"/>
              </a:ext>
            </a:extLst>
          </p:cNvPr>
          <p:cNvSpPr>
            <a:spLocks/>
          </p:cNvSpPr>
          <p:nvPr/>
        </p:nvSpPr>
        <p:spPr bwMode="auto">
          <a:xfrm>
            <a:off x="672083" y="3001324"/>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2" name="Freeform: Shape 11">
            <a:extLst>
              <a:ext uri="{FF2B5EF4-FFF2-40B4-BE49-F238E27FC236}">
                <a16:creationId xmlns:a16="http://schemas.microsoft.com/office/drawing/2014/main" id="{02D7E235-3010-8F4D-9EA1-3D42A6852D6A}"/>
              </a:ext>
            </a:extLst>
          </p:cNvPr>
          <p:cNvSpPr>
            <a:spLocks/>
          </p:cNvSpPr>
          <p:nvPr/>
        </p:nvSpPr>
        <p:spPr bwMode="auto">
          <a:xfrm>
            <a:off x="672083" y="3820474"/>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5" name="Freeform: Shape 11">
            <a:extLst>
              <a:ext uri="{FF2B5EF4-FFF2-40B4-BE49-F238E27FC236}">
                <a16:creationId xmlns:a16="http://schemas.microsoft.com/office/drawing/2014/main" id="{61DDBE35-220C-242E-9B96-D3C0DC2F625C}"/>
              </a:ext>
            </a:extLst>
          </p:cNvPr>
          <p:cNvSpPr>
            <a:spLocks/>
          </p:cNvSpPr>
          <p:nvPr/>
        </p:nvSpPr>
        <p:spPr bwMode="auto">
          <a:xfrm>
            <a:off x="672083" y="4639624"/>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6" name="TextBox 5">
            <a:extLst>
              <a:ext uri="{FF2B5EF4-FFF2-40B4-BE49-F238E27FC236}">
                <a16:creationId xmlns:a16="http://schemas.microsoft.com/office/drawing/2014/main" id="{34C8A714-55EC-40AC-B65A-1F994DEC5152}"/>
              </a:ext>
            </a:extLst>
          </p:cNvPr>
          <p:cNvSpPr txBox="1"/>
          <p:nvPr/>
        </p:nvSpPr>
        <p:spPr>
          <a:xfrm>
            <a:off x="912495" y="2120523"/>
            <a:ext cx="4840605" cy="430887"/>
          </a:xfrm>
          <a:prstGeom prst="rect">
            <a:avLst/>
          </a:prstGeom>
          <a:noFill/>
        </p:spPr>
        <p:txBody>
          <a:bodyPr wrap="square" lIns="0" tIns="0" rIns="0" bIns="0" rtlCol="0" anchor="t">
            <a:spAutoFit/>
          </a:bodyPr>
          <a:lstStyle/>
          <a:p>
            <a:pPr>
              <a:spcAft>
                <a:spcPts val="1000"/>
              </a:spcAft>
              <a:buSzPts val="1000"/>
              <a:tabLst>
                <a:tab pos="457200" algn="l"/>
              </a:tabLst>
            </a:pPr>
            <a:r>
              <a:rPr lang="en-US" sz="1400" dirty="0">
                <a:ea typeface="Calibri" panose="020F0502020204030204" pitchFamily="34" charset="0"/>
                <a:cs typeface="Arial"/>
              </a:rPr>
              <a:t>Accessing and navigating the Microsoft Commercial Marketplace.</a:t>
            </a:r>
            <a:endParaRPr lang="en-US" sz="1400" dirty="0">
              <a:effectLst/>
              <a:ea typeface="Calibri" panose="020F0502020204030204" pitchFamily="34" charset="0"/>
              <a:cs typeface="Arial"/>
            </a:endParaRPr>
          </a:p>
        </p:txBody>
      </p:sp>
      <p:sp>
        <p:nvSpPr>
          <p:cNvPr id="28" name="TextBox 27">
            <a:extLst>
              <a:ext uri="{FF2B5EF4-FFF2-40B4-BE49-F238E27FC236}">
                <a16:creationId xmlns:a16="http://schemas.microsoft.com/office/drawing/2014/main" id="{C9EAB225-5AB7-686B-2B0B-5A0DA0699DAA}"/>
              </a:ext>
            </a:extLst>
          </p:cNvPr>
          <p:cNvSpPr txBox="1"/>
          <p:nvPr/>
        </p:nvSpPr>
        <p:spPr>
          <a:xfrm>
            <a:off x="912495" y="2939673"/>
            <a:ext cx="4840605" cy="430887"/>
          </a:xfrm>
          <a:prstGeom prst="rect">
            <a:avLst/>
          </a:prstGeom>
          <a:noFill/>
        </p:spPr>
        <p:txBody>
          <a:bodyPr wrap="square" lIns="0" tIns="0" rIns="0" bIns="0" rtlCol="0" anchor="t">
            <a:spAutoFit/>
          </a:bodyPr>
          <a:lstStyle/>
          <a:p>
            <a:pPr>
              <a:spcAft>
                <a:spcPts val="1000"/>
              </a:spcAft>
              <a:buSzPts val="1000"/>
              <a:tabLst>
                <a:tab pos="457200" algn="l"/>
              </a:tabLst>
            </a:pPr>
            <a:r>
              <a:rPr lang="en-US" sz="1400" dirty="0">
                <a:ea typeface="Calibri" panose="020F0502020204030204" pitchFamily="34" charset="0"/>
                <a:cs typeface="Arial"/>
              </a:rPr>
              <a:t>Searching and deploying solutions in the Microsoft Commercial Marketplace.</a:t>
            </a:r>
            <a:endParaRPr lang="en-US" sz="1400" dirty="0">
              <a:effectLst/>
              <a:ea typeface="Calibri" panose="020F0502020204030204" pitchFamily="34" charset="0"/>
              <a:cs typeface="Arial" panose="020B0604020202020204" pitchFamily="34" charset="0"/>
            </a:endParaRPr>
          </a:p>
        </p:txBody>
      </p:sp>
      <p:sp>
        <p:nvSpPr>
          <p:cNvPr id="31" name="TextBox 30">
            <a:extLst>
              <a:ext uri="{FF2B5EF4-FFF2-40B4-BE49-F238E27FC236}">
                <a16:creationId xmlns:a16="http://schemas.microsoft.com/office/drawing/2014/main" id="{396F3C3E-06A6-C7C0-E225-74DAE937B4B6}"/>
              </a:ext>
            </a:extLst>
          </p:cNvPr>
          <p:cNvSpPr txBox="1"/>
          <p:nvPr/>
        </p:nvSpPr>
        <p:spPr>
          <a:xfrm>
            <a:off x="912495" y="3758823"/>
            <a:ext cx="4840605" cy="430887"/>
          </a:xfrm>
          <a:prstGeom prst="rect">
            <a:avLst/>
          </a:prstGeom>
          <a:noFill/>
        </p:spPr>
        <p:txBody>
          <a:bodyPr wrap="square" lIns="0" tIns="0" rIns="0" bIns="0" rtlCol="0" anchor="t">
            <a:spAutoFit/>
          </a:bodyPr>
          <a:lstStyle/>
          <a:p>
            <a:pPr>
              <a:spcAft>
                <a:spcPts val="1000"/>
              </a:spcAft>
              <a:buSzPts val="1000"/>
              <a:tabLst>
                <a:tab pos="457200" algn="l"/>
              </a:tabLst>
            </a:pPr>
            <a:r>
              <a:rPr lang="en-US" sz="1400" dirty="0">
                <a:ea typeface="Calibri" panose="020F0502020204030204" pitchFamily="34" charset="0"/>
                <a:cs typeface="Arial"/>
              </a:rPr>
              <a:t>Integration of procurement applications into the Microsoft Commercial Marketplace</a:t>
            </a:r>
            <a:r>
              <a:rPr lang="en-US" sz="1400" dirty="0">
                <a:effectLst/>
                <a:ea typeface="Calibri" panose="020F0502020204030204" pitchFamily="34" charset="0"/>
                <a:cs typeface="Arial"/>
              </a:rPr>
              <a:t>.</a:t>
            </a:r>
          </a:p>
        </p:txBody>
      </p:sp>
      <p:sp>
        <p:nvSpPr>
          <p:cNvPr id="34" name="TextBox 33">
            <a:extLst>
              <a:ext uri="{FF2B5EF4-FFF2-40B4-BE49-F238E27FC236}">
                <a16:creationId xmlns:a16="http://schemas.microsoft.com/office/drawing/2014/main" id="{A53BEA30-32DF-F647-94E1-F0D90C6E0D13}"/>
              </a:ext>
            </a:extLst>
          </p:cNvPr>
          <p:cNvSpPr txBox="1"/>
          <p:nvPr/>
        </p:nvSpPr>
        <p:spPr>
          <a:xfrm>
            <a:off x="912495" y="4577973"/>
            <a:ext cx="4840605" cy="430887"/>
          </a:xfrm>
          <a:prstGeom prst="rect">
            <a:avLst/>
          </a:prstGeom>
          <a:noFill/>
        </p:spPr>
        <p:txBody>
          <a:bodyPr wrap="square" lIns="0" tIns="0" rIns="0" bIns="0" rtlCol="0" anchor="t">
            <a:spAutoFit/>
          </a:bodyPr>
          <a:lstStyle/>
          <a:p>
            <a:pPr>
              <a:spcAft>
                <a:spcPts val="1000"/>
              </a:spcAft>
              <a:buSzPts val="1000"/>
              <a:tabLst>
                <a:tab pos="457200" algn="l"/>
              </a:tabLst>
            </a:pPr>
            <a:r>
              <a:rPr lang="en-US" sz="1400" dirty="0">
                <a:ea typeface="Calibri" panose="020F0502020204030204" pitchFamily="34" charset="0"/>
                <a:cs typeface="Arial"/>
              </a:rPr>
              <a:t>Microsoft Commercial Marketplace governance and permissions</a:t>
            </a:r>
            <a:r>
              <a:rPr lang="en-US" sz="1400" dirty="0">
                <a:effectLst/>
                <a:ea typeface="Calibri" panose="020F0502020204030204" pitchFamily="34" charset="0"/>
                <a:cs typeface="Arial"/>
              </a:rPr>
              <a:t>.</a:t>
            </a:r>
          </a:p>
        </p:txBody>
      </p:sp>
      <p:sp>
        <p:nvSpPr>
          <p:cNvPr id="37" name="TextBox 36">
            <a:extLst>
              <a:ext uri="{FF2B5EF4-FFF2-40B4-BE49-F238E27FC236}">
                <a16:creationId xmlns:a16="http://schemas.microsoft.com/office/drawing/2014/main" id="{F54DB8AE-368A-6FC1-959E-5DD62306E2C5}"/>
              </a:ext>
            </a:extLst>
          </p:cNvPr>
          <p:cNvSpPr txBox="1"/>
          <p:nvPr/>
        </p:nvSpPr>
        <p:spPr>
          <a:xfrm>
            <a:off x="912495" y="5397123"/>
            <a:ext cx="4840605" cy="215444"/>
          </a:xfrm>
          <a:prstGeom prst="rect">
            <a:avLst/>
          </a:prstGeom>
          <a:noFill/>
        </p:spPr>
        <p:txBody>
          <a:bodyPr wrap="square" lIns="0" tIns="0" rIns="0" bIns="0" rtlCol="0" anchor="t">
            <a:spAutoFit/>
          </a:bodyPr>
          <a:lstStyle/>
          <a:p>
            <a:pPr>
              <a:spcAft>
                <a:spcPts val="1000"/>
              </a:spcAft>
              <a:tabLst>
                <a:tab pos="457200" algn="l"/>
              </a:tabLst>
            </a:pPr>
            <a:r>
              <a:rPr lang="en-US" sz="1400">
                <a:cs typeface="Arial"/>
              </a:rPr>
              <a:t>Managing purchases and setting up limits.</a:t>
            </a:r>
            <a:endParaRPr lang="en-US"/>
          </a:p>
        </p:txBody>
      </p:sp>
      <p:sp>
        <p:nvSpPr>
          <p:cNvPr id="38" name="Freeform: Shape 11">
            <a:extLst>
              <a:ext uri="{FF2B5EF4-FFF2-40B4-BE49-F238E27FC236}">
                <a16:creationId xmlns:a16="http://schemas.microsoft.com/office/drawing/2014/main" id="{DF90CCCC-898D-8DC1-3431-1D965026B6A8}"/>
              </a:ext>
            </a:extLst>
          </p:cNvPr>
          <p:cNvSpPr>
            <a:spLocks/>
          </p:cNvSpPr>
          <p:nvPr/>
        </p:nvSpPr>
        <p:spPr bwMode="auto">
          <a:xfrm>
            <a:off x="672083" y="5458774"/>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2945821040"/>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39F5C4-843E-DBAD-044B-1872C9832914}"/>
              </a:ext>
            </a:extLst>
          </p:cNvPr>
          <p:cNvSpPr>
            <a:spLocks noGrp="1"/>
          </p:cNvSpPr>
          <p:nvPr>
            <p:ph type="title"/>
          </p:nvPr>
        </p:nvSpPr>
        <p:spPr>
          <a:xfrm>
            <a:off x="588263" y="457200"/>
            <a:ext cx="11018520" cy="553998"/>
          </a:xfrm>
        </p:spPr>
        <p:txBody>
          <a:bodyPr wrap="square" anchor="t">
            <a:normAutofit/>
          </a:bodyPr>
          <a:lstStyle/>
          <a:p>
            <a:r>
              <a:rPr lang="en-US"/>
              <a:t>Drawing Customers to Your Listing</a:t>
            </a:r>
          </a:p>
        </p:txBody>
      </p:sp>
      <p:graphicFrame>
        <p:nvGraphicFramePr>
          <p:cNvPr id="11" name="Content Placeholder 2">
            <a:extLst>
              <a:ext uri="{FF2B5EF4-FFF2-40B4-BE49-F238E27FC236}">
                <a16:creationId xmlns:a16="http://schemas.microsoft.com/office/drawing/2014/main" id="{4FCBB56A-54EC-13D5-CEA2-56FB6C094E1B}"/>
              </a:ext>
            </a:extLst>
          </p:cNvPr>
          <p:cNvGraphicFramePr>
            <a:graphicFrameLocks noGrp="1"/>
          </p:cNvGraphicFramePr>
          <p:nvPr>
            <p:ph sz="quarter" idx="10"/>
            <p:extLst>
              <p:ext uri="{D42A27DB-BD31-4B8C-83A1-F6EECF244321}">
                <p14:modId xmlns:p14="http://schemas.microsoft.com/office/powerpoint/2010/main" val="3775698394"/>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49857184"/>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3B6E44-5BA6-5E05-4F62-06C1C1B4745F}"/>
              </a:ext>
            </a:extLst>
          </p:cNvPr>
          <p:cNvSpPr>
            <a:spLocks noGrp="1"/>
          </p:cNvSpPr>
          <p:nvPr>
            <p:ph type="title"/>
          </p:nvPr>
        </p:nvSpPr>
        <p:spPr/>
        <p:txBody>
          <a:bodyPr/>
          <a:lstStyle/>
          <a:p>
            <a:r>
              <a:rPr lang="en-US">
                <a:cs typeface="Segoe UI"/>
              </a:rPr>
              <a:t>Azure Marketplace Purchasing</a:t>
            </a:r>
            <a:endParaRPr lang="en-US"/>
          </a:p>
        </p:txBody>
      </p:sp>
      <p:sp>
        <p:nvSpPr>
          <p:cNvPr id="3" name="Content Placeholder 2">
            <a:extLst>
              <a:ext uri="{FF2B5EF4-FFF2-40B4-BE49-F238E27FC236}">
                <a16:creationId xmlns:a16="http://schemas.microsoft.com/office/drawing/2014/main" id="{F8D78B17-9AC1-3773-F5A7-05FB325AB696}"/>
              </a:ext>
            </a:extLst>
          </p:cNvPr>
          <p:cNvSpPr>
            <a:spLocks noGrp="1"/>
          </p:cNvSpPr>
          <p:nvPr>
            <p:ph sz="quarter" idx="10"/>
          </p:nvPr>
        </p:nvSpPr>
        <p:spPr>
          <a:xfrm>
            <a:off x="584200" y="1435100"/>
            <a:ext cx="11018838" cy="2942344"/>
          </a:xfrm>
        </p:spPr>
        <p:txBody>
          <a:bodyPr vert="horz" wrap="square" lIns="0" tIns="0" rIns="0" bIns="0" rtlCol="0" anchor="t">
            <a:spAutoFit/>
          </a:bodyPr>
          <a:lstStyle/>
          <a:p>
            <a:r>
              <a:rPr lang="en-US">
                <a:cs typeface="Segoe UI"/>
              </a:rPr>
              <a:t>Simplified procurement</a:t>
            </a:r>
          </a:p>
          <a:p>
            <a:pPr lvl="1"/>
            <a:r>
              <a:rPr lang="en-US">
                <a:cs typeface="Segoe UI"/>
              </a:rPr>
              <a:t>Credit card</a:t>
            </a:r>
          </a:p>
          <a:p>
            <a:pPr lvl="1"/>
            <a:r>
              <a:rPr lang="en-US">
                <a:cs typeface="Segoe UI"/>
              </a:rPr>
              <a:t>Microsoft account</a:t>
            </a:r>
          </a:p>
          <a:p>
            <a:r>
              <a:rPr lang="en-US">
                <a:cs typeface="Segoe UI"/>
              </a:rPr>
              <a:t>Permission to purchase</a:t>
            </a:r>
          </a:p>
          <a:p>
            <a:pPr lvl="1"/>
            <a:r>
              <a:rPr lang="en-US">
                <a:cs typeface="Segoe UI"/>
              </a:rPr>
              <a:t>RBAC permissions</a:t>
            </a:r>
          </a:p>
          <a:p>
            <a:pPr lvl="1"/>
            <a:r>
              <a:rPr lang="en-US">
                <a:cs typeface="Segoe UI"/>
              </a:rPr>
              <a:t>Subscription owner or contributor</a:t>
            </a:r>
          </a:p>
          <a:p>
            <a:pPr marL="0" indent="0">
              <a:buNone/>
            </a:pPr>
            <a:endParaRPr lang="en-US"/>
          </a:p>
        </p:txBody>
      </p:sp>
      <p:pic>
        <p:nvPicPr>
          <p:cNvPr id="4" name="Picture 3" descr="A screenshot of a search engine&#10;&#10;Description automatically generated">
            <a:extLst>
              <a:ext uri="{FF2B5EF4-FFF2-40B4-BE49-F238E27FC236}">
                <a16:creationId xmlns:a16="http://schemas.microsoft.com/office/drawing/2014/main" id="{E4B1F715-1E43-CED5-B95B-CA22EDDF35F0}"/>
              </a:ext>
            </a:extLst>
          </p:cNvPr>
          <p:cNvPicPr>
            <a:picLocks noChangeAspect="1"/>
          </p:cNvPicPr>
          <p:nvPr/>
        </p:nvPicPr>
        <p:blipFill>
          <a:blip r:embed="rId2"/>
          <a:stretch>
            <a:fillRect/>
          </a:stretch>
        </p:blipFill>
        <p:spPr>
          <a:xfrm>
            <a:off x="6150707" y="1120045"/>
            <a:ext cx="2743200" cy="1823910"/>
          </a:xfrm>
          <a:prstGeom prst="rect">
            <a:avLst/>
          </a:prstGeom>
        </p:spPr>
      </p:pic>
      <p:pic>
        <p:nvPicPr>
          <p:cNvPr id="5" name="Picture 4" descr="A screenshot of a computer&#10;&#10;Description automatically generated">
            <a:extLst>
              <a:ext uri="{FF2B5EF4-FFF2-40B4-BE49-F238E27FC236}">
                <a16:creationId xmlns:a16="http://schemas.microsoft.com/office/drawing/2014/main" id="{B91B4004-1918-A295-B3E4-6E2F659B7B18}"/>
              </a:ext>
            </a:extLst>
          </p:cNvPr>
          <p:cNvPicPr>
            <a:picLocks noChangeAspect="1"/>
          </p:cNvPicPr>
          <p:nvPr/>
        </p:nvPicPr>
        <p:blipFill>
          <a:blip r:embed="rId3"/>
          <a:stretch>
            <a:fillRect/>
          </a:stretch>
        </p:blipFill>
        <p:spPr>
          <a:xfrm>
            <a:off x="7723553" y="3050252"/>
            <a:ext cx="2743200" cy="1519498"/>
          </a:xfrm>
          <a:prstGeom prst="rect">
            <a:avLst/>
          </a:prstGeom>
        </p:spPr>
      </p:pic>
      <p:pic>
        <p:nvPicPr>
          <p:cNvPr id="6" name="Picture 5" descr="A screenshot of a computer&#10;&#10;Description automatically generated">
            <a:extLst>
              <a:ext uri="{FF2B5EF4-FFF2-40B4-BE49-F238E27FC236}">
                <a16:creationId xmlns:a16="http://schemas.microsoft.com/office/drawing/2014/main" id="{C0F4C352-6777-1D9E-1226-66234D0C47DB}"/>
              </a:ext>
            </a:extLst>
          </p:cNvPr>
          <p:cNvPicPr>
            <a:picLocks noChangeAspect="1"/>
          </p:cNvPicPr>
          <p:nvPr/>
        </p:nvPicPr>
        <p:blipFill>
          <a:blip r:embed="rId4"/>
          <a:stretch>
            <a:fillRect/>
          </a:stretch>
        </p:blipFill>
        <p:spPr>
          <a:xfrm>
            <a:off x="9140092" y="4701933"/>
            <a:ext cx="2743200" cy="1908904"/>
          </a:xfrm>
          <a:prstGeom prst="rect">
            <a:avLst/>
          </a:prstGeom>
        </p:spPr>
      </p:pic>
    </p:spTree>
    <p:extLst>
      <p:ext uri="{BB962C8B-B14F-4D97-AF65-F5344CB8AC3E}">
        <p14:creationId xmlns:p14="http://schemas.microsoft.com/office/powerpoint/2010/main" val="1619709891"/>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3B6E44-5BA6-5E05-4F62-06C1C1B4745F}"/>
              </a:ext>
            </a:extLst>
          </p:cNvPr>
          <p:cNvSpPr>
            <a:spLocks noGrp="1"/>
          </p:cNvSpPr>
          <p:nvPr>
            <p:ph type="title"/>
          </p:nvPr>
        </p:nvSpPr>
        <p:spPr>
          <a:xfrm>
            <a:off x="588263" y="457200"/>
            <a:ext cx="11018520" cy="553998"/>
          </a:xfrm>
        </p:spPr>
        <p:txBody>
          <a:bodyPr wrap="square" anchor="t">
            <a:normAutofit/>
          </a:bodyPr>
          <a:lstStyle/>
          <a:p>
            <a:r>
              <a:rPr lang="en-US">
                <a:cs typeface="Segoe UI"/>
              </a:rPr>
              <a:t>Purchase Policy Management</a:t>
            </a:r>
            <a:endParaRPr lang="en-US"/>
          </a:p>
        </p:txBody>
      </p:sp>
      <p:pic>
        <p:nvPicPr>
          <p:cNvPr id="4" name="Picture 3" descr="A screenshot of a computer&#10;&#10;Description automatically generated">
            <a:extLst>
              <a:ext uri="{FF2B5EF4-FFF2-40B4-BE49-F238E27FC236}">
                <a16:creationId xmlns:a16="http://schemas.microsoft.com/office/drawing/2014/main" id="{3C834E98-F6CA-66D9-C28E-92924765C16D}"/>
              </a:ext>
            </a:extLst>
          </p:cNvPr>
          <p:cNvPicPr>
            <a:picLocks noChangeAspect="1"/>
          </p:cNvPicPr>
          <p:nvPr/>
        </p:nvPicPr>
        <p:blipFill>
          <a:blip r:embed="rId2"/>
          <a:stretch>
            <a:fillRect/>
          </a:stretch>
        </p:blipFill>
        <p:spPr>
          <a:xfrm>
            <a:off x="584200" y="1825997"/>
            <a:ext cx="5211763" cy="4052144"/>
          </a:xfrm>
          <a:prstGeom prst="rect">
            <a:avLst/>
          </a:prstGeom>
          <a:noFill/>
        </p:spPr>
      </p:pic>
      <p:sp>
        <p:nvSpPr>
          <p:cNvPr id="3" name="Content Placeholder 2">
            <a:extLst>
              <a:ext uri="{FF2B5EF4-FFF2-40B4-BE49-F238E27FC236}">
                <a16:creationId xmlns:a16="http://schemas.microsoft.com/office/drawing/2014/main" id="{F8D78B17-9AC1-3773-F5A7-05FB325AB696}"/>
              </a:ext>
            </a:extLst>
          </p:cNvPr>
          <p:cNvSpPr>
            <a:spLocks noGrp="1"/>
          </p:cNvSpPr>
          <p:nvPr>
            <p:ph sz="quarter" idx="13"/>
          </p:nvPr>
        </p:nvSpPr>
        <p:spPr>
          <a:xfrm>
            <a:off x="6389688" y="1435100"/>
            <a:ext cx="5219700" cy="4833938"/>
          </a:xfrm>
        </p:spPr>
        <p:txBody>
          <a:bodyPr vert="horz" wrap="square" lIns="0" tIns="0" rIns="0" bIns="0" rtlCol="0" anchor="t">
            <a:normAutofit/>
          </a:bodyPr>
          <a:lstStyle/>
          <a:p>
            <a:pPr>
              <a:lnSpc>
                <a:spcPct val="90000"/>
              </a:lnSpc>
            </a:pPr>
            <a:r>
              <a:rPr lang="en-US" sz="2400">
                <a:cs typeface="Segoe UI"/>
              </a:rPr>
              <a:t>Purchase policy management</a:t>
            </a:r>
          </a:p>
          <a:p>
            <a:pPr lvl="1">
              <a:lnSpc>
                <a:spcPct val="90000"/>
              </a:lnSpc>
            </a:pPr>
            <a:r>
              <a:rPr lang="en-US" sz="2400"/>
              <a:t>Azure subscription administrator manages</a:t>
            </a:r>
            <a:endParaRPr lang="en-US" sz="2400">
              <a:cs typeface="Segoe UI"/>
            </a:endParaRPr>
          </a:p>
          <a:p>
            <a:pPr lvl="1">
              <a:lnSpc>
                <a:spcPct val="90000"/>
              </a:lnSpc>
            </a:pPr>
            <a:r>
              <a:rPr lang="en-US" sz="2400"/>
              <a:t>Billing profiles</a:t>
            </a:r>
            <a:endParaRPr lang="en-US" sz="2400">
              <a:cs typeface="Segoe UI"/>
            </a:endParaRPr>
          </a:p>
          <a:p>
            <a:pPr lvl="1">
              <a:lnSpc>
                <a:spcPct val="90000"/>
              </a:lnSpc>
            </a:pPr>
            <a:r>
              <a:rPr lang="en-US" sz="2400"/>
              <a:t>Policies manage user purchases</a:t>
            </a:r>
            <a:endParaRPr lang="en-US" sz="2400">
              <a:cs typeface="Segoe UI"/>
            </a:endParaRPr>
          </a:p>
          <a:p>
            <a:pPr lvl="2">
              <a:lnSpc>
                <a:spcPct val="90000"/>
              </a:lnSpc>
            </a:pPr>
            <a:r>
              <a:rPr lang="en-US" sz="2400"/>
              <a:t>Azure Reservations</a:t>
            </a:r>
            <a:endParaRPr lang="en-US" sz="2400">
              <a:cs typeface="Segoe UI"/>
            </a:endParaRPr>
          </a:p>
          <a:p>
            <a:pPr lvl="2">
              <a:lnSpc>
                <a:spcPct val="90000"/>
              </a:lnSpc>
            </a:pPr>
            <a:r>
              <a:rPr lang="en-US" sz="2400"/>
              <a:t>Azure Marketplace</a:t>
            </a:r>
            <a:endParaRPr lang="en-US" sz="2400">
              <a:cs typeface="Segoe UI"/>
            </a:endParaRPr>
          </a:p>
          <a:p>
            <a:pPr marL="842645" lvl="3">
              <a:lnSpc>
                <a:spcPct val="90000"/>
              </a:lnSpc>
            </a:pPr>
            <a:r>
              <a:rPr lang="en-US" sz="2400"/>
              <a:t>Free + Paid</a:t>
            </a:r>
            <a:endParaRPr lang="en-US" sz="2400">
              <a:cs typeface="Segoe UI"/>
            </a:endParaRPr>
          </a:p>
          <a:p>
            <a:pPr marL="842645" lvl="3">
              <a:lnSpc>
                <a:spcPct val="90000"/>
              </a:lnSpc>
            </a:pPr>
            <a:r>
              <a:rPr lang="en-US" sz="2400"/>
              <a:t>Free</a:t>
            </a:r>
            <a:endParaRPr lang="en-US" sz="2400">
              <a:cs typeface="Segoe UI"/>
            </a:endParaRPr>
          </a:p>
          <a:p>
            <a:pPr marL="842645" lvl="3">
              <a:lnSpc>
                <a:spcPct val="90000"/>
              </a:lnSpc>
            </a:pPr>
            <a:r>
              <a:rPr lang="en-US" sz="2400"/>
              <a:t>No</a:t>
            </a:r>
            <a:endParaRPr lang="en-US" sz="2400">
              <a:cs typeface="Segoe UI"/>
            </a:endParaRPr>
          </a:p>
          <a:p>
            <a:pPr lvl="2">
              <a:lnSpc>
                <a:spcPct val="90000"/>
              </a:lnSpc>
            </a:pPr>
            <a:r>
              <a:rPr lang="en-US" sz="2400"/>
              <a:t>Labels</a:t>
            </a:r>
            <a:endParaRPr lang="en-US" sz="2400">
              <a:cs typeface="Segoe UI"/>
            </a:endParaRPr>
          </a:p>
          <a:p>
            <a:pPr lvl="1">
              <a:lnSpc>
                <a:spcPct val="90000"/>
              </a:lnSpc>
            </a:pPr>
            <a:endParaRPr lang="en-US"/>
          </a:p>
          <a:p>
            <a:pPr>
              <a:lnSpc>
                <a:spcPct val="90000"/>
              </a:lnSpc>
            </a:pPr>
            <a:endParaRPr lang="en-US" sz="2000"/>
          </a:p>
        </p:txBody>
      </p:sp>
    </p:spTree>
    <p:extLst>
      <p:ext uri="{BB962C8B-B14F-4D97-AF65-F5344CB8AC3E}">
        <p14:creationId xmlns:p14="http://schemas.microsoft.com/office/powerpoint/2010/main" val="3056138002"/>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3B6E44-5BA6-5E05-4F62-06C1C1B4745F}"/>
              </a:ext>
            </a:extLst>
          </p:cNvPr>
          <p:cNvSpPr>
            <a:spLocks noGrp="1"/>
          </p:cNvSpPr>
          <p:nvPr>
            <p:ph type="title"/>
          </p:nvPr>
        </p:nvSpPr>
        <p:spPr>
          <a:xfrm>
            <a:off x="588263" y="457200"/>
            <a:ext cx="11018520" cy="553998"/>
          </a:xfrm>
        </p:spPr>
        <p:txBody>
          <a:bodyPr wrap="square" anchor="t">
            <a:normAutofit/>
          </a:bodyPr>
          <a:lstStyle/>
          <a:p>
            <a:r>
              <a:rPr lang="en-US" dirty="0">
                <a:cs typeface="Segoe UI"/>
              </a:rPr>
              <a:t>Cost Management</a:t>
            </a:r>
            <a:endParaRPr lang="en-US" dirty="0"/>
          </a:p>
        </p:txBody>
      </p:sp>
      <p:sp>
        <p:nvSpPr>
          <p:cNvPr id="3" name="Content Placeholder 2">
            <a:extLst>
              <a:ext uri="{FF2B5EF4-FFF2-40B4-BE49-F238E27FC236}">
                <a16:creationId xmlns:a16="http://schemas.microsoft.com/office/drawing/2014/main" id="{F8D78B17-9AC1-3773-F5A7-05FB325AB696}"/>
              </a:ext>
            </a:extLst>
          </p:cNvPr>
          <p:cNvSpPr>
            <a:spLocks noGrp="1"/>
          </p:cNvSpPr>
          <p:nvPr>
            <p:ph sz="quarter" idx="12"/>
          </p:nvPr>
        </p:nvSpPr>
        <p:spPr>
          <a:xfrm>
            <a:off x="584200" y="1435100"/>
            <a:ext cx="5211763" cy="4833938"/>
          </a:xfrm>
        </p:spPr>
        <p:txBody>
          <a:bodyPr vert="horz" wrap="square" lIns="0" tIns="0" rIns="0" bIns="0" rtlCol="0" anchor="t">
            <a:normAutofit/>
          </a:bodyPr>
          <a:lstStyle/>
          <a:p>
            <a:pPr>
              <a:lnSpc>
                <a:spcPct val="90000"/>
              </a:lnSpc>
            </a:pPr>
            <a:r>
              <a:rPr lang="en-US" sz="2400" dirty="0">
                <a:cs typeface="Segoe UI"/>
              </a:rPr>
              <a:t>Cost management</a:t>
            </a:r>
          </a:p>
          <a:p>
            <a:pPr lvl="1">
              <a:lnSpc>
                <a:spcPct val="90000"/>
              </a:lnSpc>
            </a:pPr>
            <a:r>
              <a:rPr lang="en-US" dirty="0">
                <a:cs typeface="Segoe UI"/>
              </a:rPr>
              <a:t>Set budgets</a:t>
            </a:r>
          </a:p>
          <a:p>
            <a:pPr lvl="1">
              <a:lnSpc>
                <a:spcPct val="90000"/>
              </a:lnSpc>
            </a:pPr>
            <a:r>
              <a:rPr lang="en-US" dirty="0">
                <a:cs typeface="Segoe UI"/>
              </a:rPr>
              <a:t>Spending limits</a:t>
            </a:r>
          </a:p>
          <a:p>
            <a:pPr lvl="1">
              <a:lnSpc>
                <a:spcPct val="90000"/>
              </a:lnSpc>
            </a:pPr>
            <a:r>
              <a:rPr lang="en-US" dirty="0">
                <a:cs typeface="Segoe UI"/>
              </a:rPr>
              <a:t>Analyze costs and spending</a:t>
            </a:r>
          </a:p>
          <a:p>
            <a:pPr lvl="1">
              <a:lnSpc>
                <a:spcPct val="90000"/>
              </a:lnSpc>
            </a:pPr>
            <a:endParaRPr lang="en-US" dirty="0">
              <a:cs typeface="Segoe UI"/>
            </a:endParaRPr>
          </a:p>
        </p:txBody>
      </p:sp>
      <p:pic>
        <p:nvPicPr>
          <p:cNvPr id="5" name="Picture 4" descr="A screenshot of a computer&#10;&#10;Description automatically generated">
            <a:extLst>
              <a:ext uri="{FF2B5EF4-FFF2-40B4-BE49-F238E27FC236}">
                <a16:creationId xmlns:a16="http://schemas.microsoft.com/office/drawing/2014/main" id="{ACE3BBAE-9A18-5700-CE4F-E826C7A13EC8}"/>
              </a:ext>
            </a:extLst>
          </p:cNvPr>
          <p:cNvPicPr>
            <a:picLocks noChangeAspect="1"/>
          </p:cNvPicPr>
          <p:nvPr/>
        </p:nvPicPr>
        <p:blipFill>
          <a:blip r:embed="rId3"/>
          <a:stretch>
            <a:fillRect/>
          </a:stretch>
        </p:blipFill>
        <p:spPr>
          <a:xfrm>
            <a:off x="6389688" y="1855534"/>
            <a:ext cx="5219700" cy="3993070"/>
          </a:xfrm>
          <a:prstGeom prst="rect">
            <a:avLst/>
          </a:prstGeom>
          <a:noFill/>
        </p:spPr>
      </p:pic>
    </p:spTree>
    <p:extLst>
      <p:ext uri="{BB962C8B-B14F-4D97-AF65-F5344CB8AC3E}">
        <p14:creationId xmlns:p14="http://schemas.microsoft.com/office/powerpoint/2010/main" val="1103145275"/>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3B6E44-5BA6-5E05-4F62-06C1C1B4745F}"/>
              </a:ext>
            </a:extLst>
          </p:cNvPr>
          <p:cNvSpPr>
            <a:spLocks noGrp="1"/>
          </p:cNvSpPr>
          <p:nvPr>
            <p:ph type="title"/>
          </p:nvPr>
        </p:nvSpPr>
        <p:spPr>
          <a:xfrm>
            <a:off x="588263" y="457200"/>
            <a:ext cx="11018520" cy="553998"/>
          </a:xfrm>
        </p:spPr>
        <p:txBody>
          <a:bodyPr wrap="square" anchor="t">
            <a:normAutofit/>
          </a:bodyPr>
          <a:lstStyle/>
          <a:p>
            <a:r>
              <a:rPr lang="en-US" dirty="0">
                <a:cs typeface="Segoe UI"/>
              </a:rPr>
              <a:t>Purchase Validation</a:t>
            </a:r>
            <a:endParaRPr lang="en-US" dirty="0"/>
          </a:p>
        </p:txBody>
      </p:sp>
      <p:sp>
        <p:nvSpPr>
          <p:cNvPr id="3" name="Content Placeholder 2">
            <a:extLst>
              <a:ext uri="{FF2B5EF4-FFF2-40B4-BE49-F238E27FC236}">
                <a16:creationId xmlns:a16="http://schemas.microsoft.com/office/drawing/2014/main" id="{F8D78B17-9AC1-3773-F5A7-05FB325AB696}"/>
              </a:ext>
            </a:extLst>
          </p:cNvPr>
          <p:cNvSpPr>
            <a:spLocks noGrp="1"/>
          </p:cNvSpPr>
          <p:nvPr>
            <p:ph sz="quarter" idx="12"/>
          </p:nvPr>
        </p:nvSpPr>
        <p:spPr>
          <a:xfrm>
            <a:off x="584200" y="1435100"/>
            <a:ext cx="5211763" cy="4833938"/>
          </a:xfrm>
        </p:spPr>
        <p:txBody>
          <a:bodyPr vert="horz" wrap="square" lIns="0" tIns="0" rIns="0" bIns="0" rtlCol="0" anchor="t">
            <a:normAutofit/>
          </a:bodyPr>
          <a:lstStyle/>
          <a:p>
            <a:pPr>
              <a:lnSpc>
                <a:spcPct val="90000"/>
              </a:lnSpc>
            </a:pPr>
            <a:r>
              <a:rPr lang="en-US" sz="2400" dirty="0">
                <a:cs typeface="Segoe UI"/>
              </a:rPr>
              <a:t>Purchase validation checks</a:t>
            </a:r>
          </a:p>
          <a:p>
            <a:pPr lvl="1">
              <a:lnSpc>
                <a:spcPct val="90000"/>
              </a:lnSpc>
            </a:pPr>
            <a:r>
              <a:rPr lang="en-US" dirty="0">
                <a:cs typeface="Segoe UI"/>
              </a:rPr>
              <a:t>Failure to purchase reasons</a:t>
            </a:r>
          </a:p>
          <a:p>
            <a:pPr lvl="1">
              <a:lnSpc>
                <a:spcPct val="90000"/>
              </a:lnSpc>
            </a:pPr>
            <a:r>
              <a:rPr lang="en-US" dirty="0">
                <a:cs typeface="Segoe UI"/>
              </a:rPr>
              <a:t>Governs the policies that have been put in place</a:t>
            </a:r>
          </a:p>
          <a:p>
            <a:pPr lvl="1">
              <a:lnSpc>
                <a:spcPct val="90000"/>
              </a:lnSpc>
            </a:pPr>
            <a:endParaRPr lang="en-US" dirty="0">
              <a:cs typeface="Segoe UI"/>
            </a:endParaRPr>
          </a:p>
        </p:txBody>
      </p:sp>
      <p:pic>
        <p:nvPicPr>
          <p:cNvPr id="5" name="Picture 4" descr="A screenshot of a computer&#10;&#10;Description automatically generated">
            <a:extLst>
              <a:ext uri="{FF2B5EF4-FFF2-40B4-BE49-F238E27FC236}">
                <a16:creationId xmlns:a16="http://schemas.microsoft.com/office/drawing/2014/main" id="{ACE3BBAE-9A18-5700-CE4F-E826C7A13EC8}"/>
              </a:ext>
            </a:extLst>
          </p:cNvPr>
          <p:cNvPicPr>
            <a:picLocks noChangeAspect="1"/>
          </p:cNvPicPr>
          <p:nvPr/>
        </p:nvPicPr>
        <p:blipFill>
          <a:blip r:embed="rId3"/>
          <a:stretch>
            <a:fillRect/>
          </a:stretch>
        </p:blipFill>
        <p:spPr>
          <a:xfrm>
            <a:off x="6389688" y="1855534"/>
            <a:ext cx="5219700" cy="3993070"/>
          </a:xfrm>
          <a:prstGeom prst="rect">
            <a:avLst/>
          </a:prstGeom>
          <a:noFill/>
        </p:spPr>
      </p:pic>
    </p:spTree>
    <p:extLst>
      <p:ext uri="{BB962C8B-B14F-4D97-AF65-F5344CB8AC3E}">
        <p14:creationId xmlns:p14="http://schemas.microsoft.com/office/powerpoint/2010/main" val="4194513998"/>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39F5C4-843E-DBAD-044B-1872C9832914}"/>
              </a:ext>
            </a:extLst>
          </p:cNvPr>
          <p:cNvSpPr>
            <a:spLocks noGrp="1"/>
          </p:cNvSpPr>
          <p:nvPr>
            <p:ph type="title"/>
          </p:nvPr>
        </p:nvSpPr>
        <p:spPr>
          <a:xfrm>
            <a:off x="588263" y="457200"/>
            <a:ext cx="11018520" cy="553998"/>
          </a:xfrm>
        </p:spPr>
        <p:txBody>
          <a:bodyPr wrap="square" anchor="t">
            <a:normAutofit/>
          </a:bodyPr>
          <a:lstStyle/>
          <a:p>
            <a:r>
              <a:rPr lang="en-US"/>
              <a:t>Purchasing Azure Application</a:t>
            </a:r>
          </a:p>
        </p:txBody>
      </p:sp>
      <p:graphicFrame>
        <p:nvGraphicFramePr>
          <p:cNvPr id="11" name="Content Placeholder 2">
            <a:extLst>
              <a:ext uri="{FF2B5EF4-FFF2-40B4-BE49-F238E27FC236}">
                <a16:creationId xmlns:a16="http://schemas.microsoft.com/office/drawing/2014/main" id="{2183D4C5-A866-40A4-5694-A87F596A4052}"/>
              </a:ext>
            </a:extLst>
          </p:cNvPr>
          <p:cNvGraphicFramePr>
            <a:graphicFrameLocks noGrp="1"/>
          </p:cNvGraphicFramePr>
          <p:nvPr>
            <p:ph sz="quarter" idx="10"/>
            <p:extLst>
              <p:ext uri="{D42A27DB-BD31-4B8C-83A1-F6EECF244321}">
                <p14:modId xmlns:p14="http://schemas.microsoft.com/office/powerpoint/2010/main" val="2817134664"/>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381500547"/>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B48A8C-DD2D-E0F4-C077-DDC5365DC9E8}"/>
              </a:ext>
            </a:extLst>
          </p:cNvPr>
          <p:cNvSpPr>
            <a:spLocks noGrp="1"/>
          </p:cNvSpPr>
          <p:nvPr>
            <p:ph type="title"/>
          </p:nvPr>
        </p:nvSpPr>
        <p:spPr/>
        <p:txBody>
          <a:bodyPr/>
          <a:lstStyle/>
          <a:p>
            <a:r>
              <a:rPr lang="en-US">
                <a:cs typeface="Segoe UI"/>
              </a:rPr>
              <a:t>Purchase and Deploy an Azure Application</a:t>
            </a:r>
            <a:endParaRPr lang="en-US"/>
          </a:p>
        </p:txBody>
      </p:sp>
      <p:sp>
        <p:nvSpPr>
          <p:cNvPr id="3" name="Content Placeholder 2">
            <a:extLst>
              <a:ext uri="{FF2B5EF4-FFF2-40B4-BE49-F238E27FC236}">
                <a16:creationId xmlns:a16="http://schemas.microsoft.com/office/drawing/2014/main" id="{DDB7FF23-C1F3-ECC1-8CF4-0F54F4733DD3}"/>
              </a:ext>
            </a:extLst>
          </p:cNvPr>
          <p:cNvSpPr>
            <a:spLocks noGrp="1"/>
          </p:cNvSpPr>
          <p:nvPr>
            <p:ph sz="quarter" idx="10"/>
          </p:nvPr>
        </p:nvSpPr>
        <p:spPr>
          <a:xfrm>
            <a:off x="584200" y="1435100"/>
            <a:ext cx="11018838" cy="430887"/>
          </a:xfrm>
        </p:spPr>
        <p:txBody>
          <a:bodyPr vert="horz" wrap="square" lIns="0" tIns="0" rIns="0" bIns="0" rtlCol="0" anchor="t">
            <a:spAutoFit/>
          </a:bodyPr>
          <a:lstStyle/>
          <a:p>
            <a:r>
              <a:rPr lang="en-US" dirty="0">
                <a:cs typeface="Segoe UI"/>
              </a:rPr>
              <a:t>Walk through demo</a:t>
            </a:r>
            <a:endParaRPr lang="en-US" dirty="0"/>
          </a:p>
        </p:txBody>
      </p:sp>
    </p:spTree>
    <p:extLst>
      <p:ext uri="{BB962C8B-B14F-4D97-AF65-F5344CB8AC3E}">
        <p14:creationId xmlns:p14="http://schemas.microsoft.com/office/powerpoint/2010/main" val="917890403"/>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39F5C4-843E-DBAD-044B-1872C9832914}"/>
              </a:ext>
            </a:extLst>
          </p:cNvPr>
          <p:cNvSpPr>
            <a:spLocks noGrp="1"/>
          </p:cNvSpPr>
          <p:nvPr>
            <p:ph type="title"/>
          </p:nvPr>
        </p:nvSpPr>
        <p:spPr>
          <a:xfrm>
            <a:off x="588263" y="457200"/>
            <a:ext cx="11018520" cy="553998"/>
          </a:xfrm>
        </p:spPr>
        <p:txBody>
          <a:bodyPr wrap="square" anchor="t">
            <a:normAutofit/>
          </a:bodyPr>
          <a:lstStyle/>
          <a:p>
            <a:r>
              <a:rPr lang="en-US"/>
              <a:t>Purchasing Azure resources</a:t>
            </a:r>
          </a:p>
        </p:txBody>
      </p:sp>
      <p:graphicFrame>
        <p:nvGraphicFramePr>
          <p:cNvPr id="11" name="Content Placeholder 2">
            <a:extLst>
              <a:ext uri="{FF2B5EF4-FFF2-40B4-BE49-F238E27FC236}">
                <a16:creationId xmlns:a16="http://schemas.microsoft.com/office/drawing/2014/main" id="{6281DC71-4E38-C0BA-1574-1BD154A67139}"/>
              </a:ext>
            </a:extLst>
          </p:cNvPr>
          <p:cNvGraphicFramePr>
            <a:graphicFrameLocks noGrp="1"/>
          </p:cNvGraphicFramePr>
          <p:nvPr>
            <p:ph sz="quarter" idx="10"/>
            <p:extLst>
              <p:ext uri="{D42A27DB-BD31-4B8C-83A1-F6EECF244321}">
                <p14:modId xmlns:p14="http://schemas.microsoft.com/office/powerpoint/2010/main" val="924448615"/>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015539757"/>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B48A8C-DD2D-E0F4-C077-DDC5365DC9E8}"/>
              </a:ext>
            </a:extLst>
          </p:cNvPr>
          <p:cNvSpPr>
            <a:spLocks noGrp="1"/>
          </p:cNvSpPr>
          <p:nvPr>
            <p:ph type="title"/>
          </p:nvPr>
        </p:nvSpPr>
        <p:spPr/>
        <p:txBody>
          <a:bodyPr/>
          <a:lstStyle/>
          <a:p>
            <a:r>
              <a:rPr lang="en-US">
                <a:cs typeface="Segoe UI"/>
              </a:rPr>
              <a:t>Purchase and Deploy an Azure Virtual Machine</a:t>
            </a:r>
            <a:endParaRPr lang="en-US"/>
          </a:p>
        </p:txBody>
      </p:sp>
      <p:sp>
        <p:nvSpPr>
          <p:cNvPr id="3" name="Content Placeholder 2">
            <a:extLst>
              <a:ext uri="{FF2B5EF4-FFF2-40B4-BE49-F238E27FC236}">
                <a16:creationId xmlns:a16="http://schemas.microsoft.com/office/drawing/2014/main" id="{DDB7FF23-C1F3-ECC1-8CF4-0F54F4733DD3}"/>
              </a:ext>
            </a:extLst>
          </p:cNvPr>
          <p:cNvSpPr>
            <a:spLocks noGrp="1"/>
          </p:cNvSpPr>
          <p:nvPr>
            <p:ph sz="quarter" idx="10"/>
          </p:nvPr>
        </p:nvSpPr>
        <p:spPr>
          <a:xfrm>
            <a:off x="584200" y="1435100"/>
            <a:ext cx="11018838" cy="430887"/>
          </a:xfrm>
        </p:spPr>
        <p:txBody>
          <a:bodyPr vert="horz" wrap="square" lIns="0" tIns="0" rIns="0" bIns="0" rtlCol="0" anchor="t">
            <a:spAutoFit/>
          </a:bodyPr>
          <a:lstStyle/>
          <a:p>
            <a:r>
              <a:rPr lang="en-US" dirty="0">
                <a:cs typeface="Segoe UI"/>
              </a:rPr>
              <a:t>Walk through demo</a:t>
            </a:r>
            <a:endParaRPr lang="en-US" dirty="0"/>
          </a:p>
        </p:txBody>
      </p:sp>
    </p:spTree>
    <p:extLst>
      <p:ext uri="{BB962C8B-B14F-4D97-AF65-F5344CB8AC3E}">
        <p14:creationId xmlns:p14="http://schemas.microsoft.com/office/powerpoint/2010/main" val="2983617397"/>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91B069-6AF3-7B68-6726-099657220172}"/>
              </a:ext>
            </a:extLst>
          </p:cNvPr>
          <p:cNvSpPr>
            <a:spLocks noGrp="1"/>
          </p:cNvSpPr>
          <p:nvPr>
            <p:ph type="title"/>
          </p:nvPr>
        </p:nvSpPr>
        <p:spPr>
          <a:xfrm>
            <a:off x="588263" y="457200"/>
            <a:ext cx="11018520" cy="553998"/>
          </a:xfrm>
        </p:spPr>
        <p:txBody>
          <a:bodyPr wrap="square" anchor="t">
            <a:normAutofit/>
          </a:bodyPr>
          <a:lstStyle/>
          <a:p>
            <a:r>
              <a:rPr lang="en-US"/>
              <a:t>Purchasing SaaS applications</a:t>
            </a:r>
          </a:p>
        </p:txBody>
      </p:sp>
      <p:graphicFrame>
        <p:nvGraphicFramePr>
          <p:cNvPr id="5" name="Content Placeholder 2">
            <a:extLst>
              <a:ext uri="{FF2B5EF4-FFF2-40B4-BE49-F238E27FC236}">
                <a16:creationId xmlns:a16="http://schemas.microsoft.com/office/drawing/2014/main" id="{0F261073-2BAD-D61A-DB99-49C156412A8F}"/>
              </a:ext>
            </a:extLst>
          </p:cNvPr>
          <p:cNvGraphicFramePr>
            <a:graphicFrameLocks noGrp="1"/>
          </p:cNvGraphicFramePr>
          <p:nvPr>
            <p:ph sz="quarter" idx="10"/>
            <p:extLst>
              <p:ext uri="{D42A27DB-BD31-4B8C-83A1-F6EECF244321}">
                <p14:modId xmlns:p14="http://schemas.microsoft.com/office/powerpoint/2010/main" val="2573909661"/>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51121427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D90CCC6B-761E-41C2-B49A-BAFF18B49A36}"/>
              </a:ext>
            </a:extLst>
          </p:cNvPr>
          <p:cNvSpPr/>
          <p:nvPr/>
        </p:nvSpPr>
        <p:spPr>
          <a:xfrm>
            <a:off x="0" y="1792288"/>
            <a:ext cx="12192000" cy="387735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Title 3">
            <a:extLst>
              <a:ext uri="{FF2B5EF4-FFF2-40B4-BE49-F238E27FC236}">
                <a16:creationId xmlns:a16="http://schemas.microsoft.com/office/drawing/2014/main" id="{F1EFE6B5-34E2-4444-8D34-82C27AF259D7}"/>
              </a:ext>
            </a:extLst>
          </p:cNvPr>
          <p:cNvSpPr>
            <a:spLocks noGrp="1"/>
          </p:cNvSpPr>
          <p:nvPr>
            <p:ph type="title"/>
          </p:nvPr>
        </p:nvSpPr>
        <p:spPr/>
        <p:txBody>
          <a:bodyPr/>
          <a:lstStyle/>
          <a:p>
            <a:r>
              <a:rPr lang="en-US">
                <a:latin typeface="Segoe UI" panose="020B0502040204020203" pitchFamily="34" charset="0"/>
                <a:cs typeface="Segoe UI" panose="020B0502040204020203" pitchFamily="34" charset="0"/>
              </a:rPr>
              <a:t>What to expect</a:t>
            </a:r>
          </a:p>
        </p:txBody>
      </p:sp>
      <p:sp>
        <p:nvSpPr>
          <p:cNvPr id="3" name="Text Placeholder 2">
            <a:extLst>
              <a:ext uri="{FF2B5EF4-FFF2-40B4-BE49-F238E27FC236}">
                <a16:creationId xmlns:a16="http://schemas.microsoft.com/office/drawing/2014/main" id="{CCB8E390-301B-4F6A-8FDA-DBCD66510B90}"/>
              </a:ext>
            </a:extLst>
          </p:cNvPr>
          <p:cNvSpPr>
            <a:spLocks noGrp="1"/>
          </p:cNvSpPr>
          <p:nvPr>
            <p:ph type="body" idx="1"/>
          </p:nvPr>
        </p:nvSpPr>
        <p:spPr>
          <a:xfrm>
            <a:off x="839788" y="1792288"/>
            <a:ext cx="5157787" cy="823912"/>
          </a:xfrm>
        </p:spPr>
        <p:txBody>
          <a:bodyPr anchor="ctr"/>
          <a:lstStyle/>
          <a:p>
            <a:r>
              <a:rPr lang="en-US">
                <a:solidFill>
                  <a:schemeClr val="accent1"/>
                </a:solidFill>
                <a:latin typeface="Segoe UI" panose="020B0502040204020203" pitchFamily="34" charset="0"/>
                <a:cs typeface="Segoe UI" panose="020B0502040204020203" pitchFamily="34" charset="0"/>
              </a:rPr>
              <a:t>This workshop includes:  </a:t>
            </a:r>
          </a:p>
        </p:txBody>
      </p:sp>
      <p:sp>
        <p:nvSpPr>
          <p:cNvPr id="7" name="Content Placeholder 6">
            <a:extLst>
              <a:ext uri="{FF2B5EF4-FFF2-40B4-BE49-F238E27FC236}">
                <a16:creationId xmlns:a16="http://schemas.microsoft.com/office/drawing/2014/main" id="{BAEABFA2-6886-4059-8BDC-CEA47006EF42}"/>
              </a:ext>
            </a:extLst>
          </p:cNvPr>
          <p:cNvSpPr>
            <a:spLocks noGrp="1"/>
          </p:cNvSpPr>
          <p:nvPr>
            <p:ph sz="half" idx="2"/>
          </p:nvPr>
        </p:nvSpPr>
        <p:spPr>
          <a:xfrm>
            <a:off x="785358" y="2906034"/>
            <a:ext cx="4659475" cy="1593396"/>
          </a:xfrm>
        </p:spPr>
        <p:txBody>
          <a:bodyPr vert="horz" wrap="square" lIns="0" tIns="0" rIns="0" bIns="0" rtlCol="0" anchor="t">
            <a:normAutofit lnSpcReduction="10000"/>
          </a:bodyPr>
          <a:lstStyle/>
          <a:p>
            <a:pPr marL="457200" indent="-457200">
              <a:buClr>
                <a:schemeClr val="accent1"/>
              </a:buClr>
              <a:buFont typeface="Wingdings" panose="05000000000000000000" pitchFamily="2" charset="2"/>
              <a:buChar char="ü"/>
            </a:pPr>
            <a:r>
              <a:rPr lang="en-US" sz="2000">
                <a:latin typeface="Segoe UI"/>
                <a:cs typeface="Segoe UI"/>
              </a:rPr>
              <a:t>Content with documented use cases and discussion topics</a:t>
            </a:r>
            <a:endParaRPr lang="en-US"/>
          </a:p>
          <a:p>
            <a:pPr marL="457200" indent="-457200">
              <a:buClr>
                <a:schemeClr val="accent1"/>
              </a:buClr>
              <a:buFont typeface="Wingdings" panose="05000000000000000000" pitchFamily="2" charset="2"/>
              <a:buChar char="ü"/>
            </a:pPr>
            <a:r>
              <a:rPr lang="en-US" sz="2000">
                <a:latin typeface="Segoe UI"/>
                <a:cs typeface="Segoe UI"/>
              </a:rPr>
              <a:t>Documented exercises to follow along with the instructor</a:t>
            </a:r>
          </a:p>
          <a:p>
            <a:pPr marL="457200" indent="-457200">
              <a:buClr>
                <a:schemeClr val="accent1"/>
              </a:buClr>
              <a:buFont typeface="Wingdings" panose="05000000000000000000" pitchFamily="2" charset="2"/>
              <a:buChar char="ü"/>
            </a:pPr>
            <a:endParaRPr lang="en-US" sz="2000">
              <a:latin typeface="Segoe UI" panose="020B0502040204020203" pitchFamily="34" charset="0"/>
              <a:cs typeface="Segoe UI" panose="020B0502040204020203" pitchFamily="34" charset="0"/>
            </a:endParaRPr>
          </a:p>
        </p:txBody>
      </p:sp>
      <p:sp>
        <p:nvSpPr>
          <p:cNvPr id="8" name="Text Placeholder 7">
            <a:extLst>
              <a:ext uri="{FF2B5EF4-FFF2-40B4-BE49-F238E27FC236}">
                <a16:creationId xmlns:a16="http://schemas.microsoft.com/office/drawing/2014/main" id="{FC9D6F49-F7B3-4D64-BDE7-39D4791C2624}"/>
              </a:ext>
            </a:extLst>
          </p:cNvPr>
          <p:cNvSpPr>
            <a:spLocks noGrp="1"/>
          </p:cNvSpPr>
          <p:nvPr>
            <p:ph type="body" sz="quarter" idx="3"/>
          </p:nvPr>
        </p:nvSpPr>
        <p:spPr>
          <a:xfrm>
            <a:off x="6552405" y="1792288"/>
            <a:ext cx="4919153" cy="823912"/>
          </a:xfrm>
        </p:spPr>
        <p:txBody>
          <a:bodyPr anchor="ctr"/>
          <a:lstStyle/>
          <a:p>
            <a:r>
              <a:rPr lang="en-US">
                <a:solidFill>
                  <a:schemeClr val="accent1"/>
                </a:solidFill>
                <a:latin typeface="Segoe UI" panose="020B0502040204020203" pitchFamily="34" charset="0"/>
                <a:cs typeface="Segoe UI" panose="020B0502040204020203" pitchFamily="34" charset="0"/>
              </a:rPr>
              <a:t>This workshop does not include:</a:t>
            </a:r>
          </a:p>
        </p:txBody>
      </p:sp>
      <p:sp>
        <p:nvSpPr>
          <p:cNvPr id="9" name="Content Placeholder 8">
            <a:extLst>
              <a:ext uri="{FF2B5EF4-FFF2-40B4-BE49-F238E27FC236}">
                <a16:creationId xmlns:a16="http://schemas.microsoft.com/office/drawing/2014/main" id="{DEC298B1-8CEC-496A-A434-6778D0312A8B}"/>
              </a:ext>
            </a:extLst>
          </p:cNvPr>
          <p:cNvSpPr>
            <a:spLocks noGrp="1"/>
          </p:cNvSpPr>
          <p:nvPr>
            <p:ph sz="quarter" idx="4"/>
          </p:nvPr>
        </p:nvSpPr>
        <p:spPr>
          <a:xfrm>
            <a:off x="6552406" y="3044713"/>
            <a:ext cx="3930537" cy="1316038"/>
          </a:xfrm>
        </p:spPr>
        <p:txBody>
          <a:bodyPr vert="horz" wrap="square" lIns="0" tIns="0" rIns="0" bIns="0" rtlCol="0" anchor="t">
            <a:normAutofit lnSpcReduction="10000"/>
          </a:bodyPr>
          <a:lstStyle/>
          <a:p>
            <a:pPr marL="407670" indent="-342900">
              <a:buClr>
                <a:srgbClr val="4472C4"/>
              </a:buClr>
              <a:buSzPct val="107000"/>
              <a:buFont typeface="Segoe UI" panose="020B0502040204020203" pitchFamily="34" charset="0"/>
              <a:buChar char="×"/>
            </a:pPr>
            <a:r>
              <a:rPr lang="en-US" sz="2000">
                <a:latin typeface="Segoe UI"/>
                <a:cs typeface="Segoe UI"/>
              </a:rPr>
              <a:t>Hands-on lab experience</a:t>
            </a:r>
          </a:p>
          <a:p>
            <a:pPr marL="407670" lvl="0" indent="-342900">
              <a:buClr>
                <a:srgbClr val="4472C4"/>
              </a:buClr>
              <a:buSzPct val="107000"/>
              <a:buFont typeface="Segoe UI" panose="020B0502040204020203" pitchFamily="34" charset="0"/>
              <a:buChar char="×"/>
            </a:pPr>
            <a:r>
              <a:rPr lang="en-US" sz="2000">
                <a:latin typeface="Segoe UI"/>
                <a:cs typeface="Segoe UI"/>
              </a:rPr>
              <a:t>Shared hands-on lab environment (aka </a:t>
            </a:r>
            <a:r>
              <a:rPr lang="en-US" sz="2000" err="1">
                <a:latin typeface="Segoe UI"/>
                <a:cs typeface="Segoe UI"/>
              </a:rPr>
              <a:t>OpenHack</a:t>
            </a:r>
            <a:r>
              <a:rPr lang="en-US" sz="2000">
                <a:latin typeface="Segoe UI"/>
                <a:cs typeface="Segoe UI"/>
              </a:rPr>
              <a:t>)</a:t>
            </a:r>
            <a:endParaRPr lang="en-US">
              <a:latin typeface="Segoe UI"/>
              <a:cs typeface="Segoe UI"/>
            </a:endParaRPr>
          </a:p>
          <a:p>
            <a:pPr marL="407670" indent="-342900">
              <a:buClr>
                <a:srgbClr val="4472C4"/>
              </a:buClr>
              <a:buSzPct val="107000"/>
              <a:buFont typeface="Segoe UI" panose="020B0502040204020203" pitchFamily="34" charset="0"/>
              <a:buChar char="×"/>
            </a:pPr>
            <a:r>
              <a:rPr lang="en-US" sz="2000">
                <a:latin typeface="Segoe UI"/>
                <a:cs typeface="Segoe UI"/>
              </a:rPr>
              <a:t>Lecture without interaction</a:t>
            </a:r>
            <a:endParaRPr lang="en-US" sz="2000">
              <a:latin typeface="Segoe UI" panose="020B0502040204020203" pitchFamily="34" charset="0"/>
              <a:cs typeface="Segoe UI" panose="020B0502040204020203" pitchFamily="34" charset="0"/>
            </a:endParaRPr>
          </a:p>
          <a:p>
            <a:pPr marL="407670" indent="-342900">
              <a:buClr>
                <a:srgbClr val="4472C4"/>
              </a:buClr>
              <a:buSzPct val="107000"/>
              <a:buFont typeface="Segoe UI" panose="020B0502040204020203" pitchFamily="34" charset="0"/>
              <a:buChar char="×"/>
            </a:pPr>
            <a:endParaRPr lang="en-US" sz="2000">
              <a:latin typeface="Segoe UI" panose="020B0502040204020203" pitchFamily="34" charset="0"/>
            </a:endParaRPr>
          </a:p>
          <a:p>
            <a:pPr marL="0" indent="0">
              <a:buNone/>
            </a:pPr>
            <a:endParaRPr lang="en-US">
              <a:latin typeface="Segoe UI" panose="020B0502040204020203" pitchFamily="34" charset="0"/>
            </a:endParaRPr>
          </a:p>
        </p:txBody>
      </p:sp>
      <p:cxnSp>
        <p:nvCxnSpPr>
          <p:cNvPr id="11" name="Straight Connector 10">
            <a:extLst>
              <a:ext uri="{FF2B5EF4-FFF2-40B4-BE49-F238E27FC236}">
                <a16:creationId xmlns:a16="http://schemas.microsoft.com/office/drawing/2014/main" id="{B43FB16C-DFFD-4B98-9CDA-7E1B278C6659}"/>
              </a:ext>
              <a:ext uri="{C183D7F6-B498-43B3-948B-1728B52AA6E4}">
                <adec:decorative xmlns:adec="http://schemas.microsoft.com/office/drawing/2017/decorative" val="1"/>
              </a:ext>
            </a:extLst>
          </p:cNvPr>
          <p:cNvCxnSpPr>
            <a:cxnSpLocks/>
          </p:cNvCxnSpPr>
          <p:nvPr/>
        </p:nvCxnSpPr>
        <p:spPr>
          <a:xfrm>
            <a:off x="6096000" y="2331132"/>
            <a:ext cx="0" cy="2743200"/>
          </a:xfrm>
          <a:prstGeom prst="line">
            <a:avLst/>
          </a:prstGeom>
          <a:ln>
            <a:solidFill>
              <a:srgbClr val="4472C4"/>
            </a:solidFill>
            <a:headEnd type="none"/>
            <a:tailEnd type="non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55094611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F7B20E-BDDA-FD42-628C-C0761EA21203}"/>
              </a:ext>
            </a:extLst>
          </p:cNvPr>
          <p:cNvSpPr>
            <a:spLocks noGrp="1"/>
          </p:cNvSpPr>
          <p:nvPr>
            <p:ph type="title"/>
          </p:nvPr>
        </p:nvSpPr>
        <p:spPr/>
        <p:txBody>
          <a:bodyPr/>
          <a:lstStyle/>
          <a:p>
            <a:r>
              <a:rPr lang="en-US" dirty="0"/>
              <a:t>Private Offers</a:t>
            </a:r>
          </a:p>
        </p:txBody>
      </p:sp>
      <p:sp>
        <p:nvSpPr>
          <p:cNvPr id="3" name="Content Placeholder 2">
            <a:extLst>
              <a:ext uri="{FF2B5EF4-FFF2-40B4-BE49-F238E27FC236}">
                <a16:creationId xmlns:a16="http://schemas.microsoft.com/office/drawing/2014/main" id="{69CA874A-9652-F723-DEFE-FBA3B96CA7BC}"/>
              </a:ext>
            </a:extLst>
          </p:cNvPr>
          <p:cNvSpPr>
            <a:spLocks noGrp="1"/>
          </p:cNvSpPr>
          <p:nvPr>
            <p:ph sz="quarter" idx="10"/>
          </p:nvPr>
        </p:nvSpPr>
        <p:spPr>
          <a:xfrm>
            <a:off x="584200" y="1435100"/>
            <a:ext cx="11018838" cy="4419671"/>
          </a:xfrm>
        </p:spPr>
        <p:txBody>
          <a:bodyPr/>
          <a:lstStyle/>
          <a:p>
            <a:r>
              <a:rPr lang="en-US" dirty="0"/>
              <a:t>Engagement with Microsoft partner and their solution</a:t>
            </a:r>
          </a:p>
          <a:p>
            <a:r>
              <a:rPr lang="en-US" dirty="0"/>
              <a:t>Procuring a private offer is a three (3) step process:</a:t>
            </a:r>
          </a:p>
          <a:p>
            <a:pPr lvl="1"/>
            <a:r>
              <a:rPr lang="en-US" dirty="0"/>
              <a:t>1. Provide billing account ID and contact information to the partner</a:t>
            </a:r>
          </a:p>
          <a:p>
            <a:pPr lvl="1"/>
            <a:r>
              <a:rPr lang="en-US" dirty="0"/>
              <a:t>2. Accept the private offer</a:t>
            </a:r>
          </a:p>
          <a:p>
            <a:pPr lvl="1"/>
            <a:r>
              <a:rPr lang="en-US" dirty="0"/>
              <a:t>3. Purchase the private offer</a:t>
            </a:r>
          </a:p>
          <a:p>
            <a:r>
              <a:rPr lang="en-US" dirty="0"/>
              <a:t>Requires </a:t>
            </a:r>
            <a:r>
              <a:rPr lang="en-US" dirty="0" err="1"/>
              <a:t>Entra</a:t>
            </a:r>
            <a:r>
              <a:rPr lang="en-US" dirty="0"/>
              <a:t> permission for SSO to Microsoft partner solutions through user consent</a:t>
            </a:r>
          </a:p>
          <a:p>
            <a:pPr lvl="1"/>
            <a:r>
              <a:rPr lang="en-US" dirty="0"/>
              <a:t>Within Applications -&gt; Enterprise applications -&gt; Consent and permissions -&gt; User consent settings</a:t>
            </a:r>
          </a:p>
          <a:p>
            <a:pPr lvl="1"/>
            <a:r>
              <a:rPr lang="en-US" dirty="0"/>
              <a:t>Select the consent setting</a:t>
            </a:r>
          </a:p>
          <a:p>
            <a:pPr lvl="1"/>
            <a:r>
              <a:rPr lang="en-US" dirty="0"/>
              <a:t>Save settings</a:t>
            </a:r>
          </a:p>
        </p:txBody>
      </p:sp>
    </p:spTree>
    <p:extLst>
      <p:ext uri="{BB962C8B-B14F-4D97-AF65-F5344CB8AC3E}">
        <p14:creationId xmlns:p14="http://schemas.microsoft.com/office/powerpoint/2010/main" val="2990052108"/>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74790-19A4-EFC1-BD1E-9D989E35927B}"/>
              </a:ext>
            </a:extLst>
          </p:cNvPr>
          <p:cNvSpPr>
            <a:spLocks noGrp="1"/>
          </p:cNvSpPr>
          <p:nvPr>
            <p:ph type="title"/>
          </p:nvPr>
        </p:nvSpPr>
        <p:spPr/>
        <p:txBody>
          <a:bodyPr/>
          <a:lstStyle/>
          <a:p>
            <a:r>
              <a:rPr lang="en-US" dirty="0"/>
              <a:t>Walk through of private offers</a:t>
            </a:r>
          </a:p>
        </p:txBody>
      </p:sp>
      <p:sp>
        <p:nvSpPr>
          <p:cNvPr id="3" name="Content Placeholder 2">
            <a:extLst>
              <a:ext uri="{FF2B5EF4-FFF2-40B4-BE49-F238E27FC236}">
                <a16:creationId xmlns:a16="http://schemas.microsoft.com/office/drawing/2014/main" id="{8E9FBFAB-26A7-4035-93DF-812906DE89B7}"/>
              </a:ext>
            </a:extLst>
          </p:cNvPr>
          <p:cNvSpPr>
            <a:spLocks noGrp="1"/>
          </p:cNvSpPr>
          <p:nvPr>
            <p:ph sz="quarter" idx="10"/>
          </p:nvPr>
        </p:nvSpPr>
        <p:spPr>
          <a:xfrm>
            <a:off x="584200" y="1435100"/>
            <a:ext cx="11018838" cy="1378839"/>
          </a:xfrm>
        </p:spPr>
        <p:txBody>
          <a:bodyPr/>
          <a:lstStyle/>
          <a:p>
            <a:r>
              <a:rPr lang="en-US" dirty="0">
                <a:hlinkClick r:id="rId3"/>
              </a:rPr>
              <a:t>https://learn.microsoft.com/en-us/marketplace/private-offers-in-azure-marketplace</a:t>
            </a:r>
            <a:endParaRPr lang="en-US" dirty="0"/>
          </a:p>
          <a:p>
            <a:endParaRPr lang="en-US" dirty="0"/>
          </a:p>
        </p:txBody>
      </p:sp>
    </p:spTree>
    <p:extLst>
      <p:ext uri="{BB962C8B-B14F-4D97-AF65-F5344CB8AC3E}">
        <p14:creationId xmlns:p14="http://schemas.microsoft.com/office/powerpoint/2010/main" val="870078105"/>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F7B20E-BDDA-FD42-628C-C0761EA21203}"/>
              </a:ext>
            </a:extLst>
          </p:cNvPr>
          <p:cNvSpPr>
            <a:spLocks noGrp="1"/>
          </p:cNvSpPr>
          <p:nvPr>
            <p:ph type="title"/>
          </p:nvPr>
        </p:nvSpPr>
        <p:spPr/>
        <p:txBody>
          <a:bodyPr/>
          <a:lstStyle/>
          <a:p>
            <a:r>
              <a:rPr lang="en-US" dirty="0"/>
              <a:t>Private Offers customer experience</a:t>
            </a:r>
          </a:p>
        </p:txBody>
      </p:sp>
      <p:sp>
        <p:nvSpPr>
          <p:cNvPr id="3" name="Content Placeholder 2">
            <a:extLst>
              <a:ext uri="{FF2B5EF4-FFF2-40B4-BE49-F238E27FC236}">
                <a16:creationId xmlns:a16="http://schemas.microsoft.com/office/drawing/2014/main" id="{69CA874A-9652-F723-DEFE-FBA3B96CA7BC}"/>
              </a:ext>
            </a:extLst>
          </p:cNvPr>
          <p:cNvSpPr>
            <a:spLocks noGrp="1"/>
          </p:cNvSpPr>
          <p:nvPr>
            <p:ph sz="quarter" idx="10"/>
          </p:nvPr>
        </p:nvSpPr>
        <p:spPr>
          <a:xfrm>
            <a:off x="584200" y="1435100"/>
            <a:ext cx="11018838" cy="947952"/>
          </a:xfrm>
        </p:spPr>
        <p:txBody>
          <a:bodyPr/>
          <a:lstStyle/>
          <a:p>
            <a:r>
              <a:rPr lang="en-US" dirty="0">
                <a:hlinkClick r:id="rId2"/>
              </a:rPr>
              <a:t>https://www.youtube.com/watch?v=TANUlgLuVqI</a:t>
            </a:r>
            <a:endParaRPr lang="en-US" dirty="0"/>
          </a:p>
          <a:p>
            <a:endParaRPr lang="en-US" dirty="0"/>
          </a:p>
        </p:txBody>
      </p:sp>
    </p:spTree>
    <p:extLst>
      <p:ext uri="{BB962C8B-B14F-4D97-AF65-F5344CB8AC3E}">
        <p14:creationId xmlns:p14="http://schemas.microsoft.com/office/powerpoint/2010/main" val="1348257230"/>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AB2EE4-07A0-D158-D22F-B55E61E4F006}"/>
              </a:ext>
            </a:extLst>
          </p:cNvPr>
          <p:cNvSpPr>
            <a:spLocks noGrp="1"/>
          </p:cNvSpPr>
          <p:nvPr>
            <p:ph type="title"/>
          </p:nvPr>
        </p:nvSpPr>
        <p:spPr>
          <a:xfrm>
            <a:off x="588263" y="457200"/>
            <a:ext cx="11018520" cy="553998"/>
          </a:xfrm>
        </p:spPr>
        <p:txBody>
          <a:bodyPr/>
          <a:lstStyle/>
          <a:p>
            <a:r>
              <a:rPr lang="en-US">
                <a:cs typeface="Segoe UI Semibold"/>
              </a:rPr>
              <a:t>Purchase and Subscribe to a SaaS offer</a:t>
            </a:r>
          </a:p>
        </p:txBody>
      </p:sp>
      <p:sp>
        <p:nvSpPr>
          <p:cNvPr id="3" name="Content Placeholder 2">
            <a:extLst>
              <a:ext uri="{FF2B5EF4-FFF2-40B4-BE49-F238E27FC236}">
                <a16:creationId xmlns:a16="http://schemas.microsoft.com/office/drawing/2014/main" id="{85C97FA8-BE0A-E10E-33B0-9E19F185EBA4}"/>
              </a:ext>
            </a:extLst>
          </p:cNvPr>
          <p:cNvSpPr>
            <a:spLocks noGrp="1"/>
          </p:cNvSpPr>
          <p:nvPr>
            <p:ph sz="quarter" idx="10"/>
          </p:nvPr>
        </p:nvSpPr>
        <p:spPr>
          <a:xfrm>
            <a:off x="584200" y="1435100"/>
            <a:ext cx="11018838" cy="1994392"/>
          </a:xfrm>
        </p:spPr>
        <p:txBody>
          <a:bodyPr vert="horz" wrap="square" lIns="0" tIns="0" rIns="0" bIns="0" rtlCol="0" anchor="t">
            <a:spAutoFit/>
          </a:bodyPr>
          <a:lstStyle/>
          <a:p>
            <a:r>
              <a:rPr lang="en-US" dirty="0">
                <a:cs typeface="Segoe UI"/>
              </a:rPr>
              <a:t>Walk through demo</a:t>
            </a:r>
          </a:p>
          <a:p>
            <a:pPr lvl="1"/>
            <a:r>
              <a:rPr lang="en-US" dirty="0">
                <a:cs typeface="Segoe UI"/>
              </a:rPr>
              <a:t>Subscription and configuration</a:t>
            </a:r>
          </a:p>
          <a:p>
            <a:pPr lvl="1"/>
            <a:r>
              <a:rPr lang="en-US" dirty="0">
                <a:ea typeface="+mn-lt"/>
                <a:cs typeface="+mn-lt"/>
              </a:rPr>
              <a:t>https://learn.microsoft.com/en-us/marketplace/purchase-saas-offer-in-azure-portal#saas-subscription-and-configuration</a:t>
            </a:r>
            <a:endParaRPr lang="en-US" dirty="0">
              <a:cs typeface="Segoe UI"/>
            </a:endParaRPr>
          </a:p>
          <a:p>
            <a:endParaRPr lang="en-US" dirty="0"/>
          </a:p>
        </p:txBody>
      </p:sp>
    </p:spTree>
    <p:extLst>
      <p:ext uri="{BB962C8B-B14F-4D97-AF65-F5344CB8AC3E}">
        <p14:creationId xmlns:p14="http://schemas.microsoft.com/office/powerpoint/2010/main" val="1171446039"/>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EE8F8E-8AB3-8B85-39AE-98837F46EC4B}"/>
              </a:ext>
            </a:extLst>
          </p:cNvPr>
          <p:cNvSpPr>
            <a:spLocks noGrp="1"/>
          </p:cNvSpPr>
          <p:nvPr>
            <p:ph type="title"/>
          </p:nvPr>
        </p:nvSpPr>
        <p:spPr>
          <a:xfrm>
            <a:off x="588263" y="457200"/>
            <a:ext cx="11018520" cy="553998"/>
          </a:xfrm>
        </p:spPr>
        <p:txBody>
          <a:bodyPr wrap="square" anchor="t">
            <a:normAutofit/>
          </a:bodyPr>
          <a:lstStyle/>
          <a:p>
            <a:r>
              <a:rPr lang="en-US"/>
              <a:t>Programmatic Deployment of Marketplace products</a:t>
            </a:r>
          </a:p>
        </p:txBody>
      </p:sp>
      <p:graphicFrame>
        <p:nvGraphicFramePr>
          <p:cNvPr id="5" name="Content Placeholder 2">
            <a:extLst>
              <a:ext uri="{FF2B5EF4-FFF2-40B4-BE49-F238E27FC236}">
                <a16:creationId xmlns:a16="http://schemas.microsoft.com/office/drawing/2014/main" id="{7C56FF18-D543-A9E2-E639-54200B4A4673}"/>
              </a:ext>
            </a:extLst>
          </p:cNvPr>
          <p:cNvGraphicFramePr>
            <a:graphicFrameLocks noGrp="1"/>
          </p:cNvGraphicFramePr>
          <p:nvPr>
            <p:ph sz="quarter" idx="10"/>
            <p:extLst>
              <p:ext uri="{D42A27DB-BD31-4B8C-83A1-F6EECF244321}">
                <p14:modId xmlns:p14="http://schemas.microsoft.com/office/powerpoint/2010/main" val="2031163566"/>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90178162"/>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3A1FEB-4EBD-088C-B102-3A5E0A53F311}"/>
              </a:ext>
            </a:extLst>
          </p:cNvPr>
          <p:cNvSpPr>
            <a:spLocks noGrp="1"/>
          </p:cNvSpPr>
          <p:nvPr>
            <p:ph type="title"/>
          </p:nvPr>
        </p:nvSpPr>
        <p:spPr>
          <a:xfrm>
            <a:off x="588263" y="457200"/>
            <a:ext cx="11018520" cy="553998"/>
          </a:xfrm>
        </p:spPr>
        <p:txBody>
          <a:bodyPr wrap="square" anchor="t">
            <a:normAutofit/>
          </a:bodyPr>
          <a:lstStyle/>
          <a:p>
            <a:r>
              <a:rPr lang="en-US"/>
              <a:t>SaaS Subscription Management</a:t>
            </a:r>
          </a:p>
        </p:txBody>
      </p:sp>
      <p:graphicFrame>
        <p:nvGraphicFramePr>
          <p:cNvPr id="7" name="Content Placeholder 2">
            <a:extLst>
              <a:ext uri="{FF2B5EF4-FFF2-40B4-BE49-F238E27FC236}">
                <a16:creationId xmlns:a16="http://schemas.microsoft.com/office/drawing/2014/main" id="{3A80CE1E-78CC-6677-9E1F-AD6A51F41468}"/>
              </a:ext>
            </a:extLst>
          </p:cNvPr>
          <p:cNvGraphicFramePr>
            <a:graphicFrameLocks noGrp="1"/>
          </p:cNvGraphicFramePr>
          <p:nvPr>
            <p:ph sz="quarter" idx="13"/>
            <p:extLst>
              <p:ext uri="{D42A27DB-BD31-4B8C-83A1-F6EECF244321}">
                <p14:modId xmlns:p14="http://schemas.microsoft.com/office/powerpoint/2010/main" val="97648600"/>
              </p:ext>
            </p:extLst>
          </p:nvPr>
        </p:nvGraphicFramePr>
        <p:xfrm>
          <a:off x="2462457" y="1425331"/>
          <a:ext cx="7271239"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437570267"/>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FFC35A-DEE7-5F87-B579-666027F7AA8A}"/>
              </a:ext>
            </a:extLst>
          </p:cNvPr>
          <p:cNvSpPr>
            <a:spLocks noGrp="1"/>
          </p:cNvSpPr>
          <p:nvPr>
            <p:ph type="title"/>
          </p:nvPr>
        </p:nvSpPr>
        <p:spPr/>
        <p:txBody>
          <a:bodyPr/>
          <a:lstStyle/>
          <a:p>
            <a:r>
              <a:rPr lang="en-US">
                <a:cs typeface="Segoe UI"/>
              </a:rPr>
              <a:t>Billing and Invoicing</a:t>
            </a:r>
            <a:endParaRPr lang="en-US"/>
          </a:p>
        </p:txBody>
      </p:sp>
      <p:sp>
        <p:nvSpPr>
          <p:cNvPr id="3" name="Content Placeholder 2">
            <a:extLst>
              <a:ext uri="{FF2B5EF4-FFF2-40B4-BE49-F238E27FC236}">
                <a16:creationId xmlns:a16="http://schemas.microsoft.com/office/drawing/2014/main" id="{6EC7CC27-14D6-DF5B-9E38-E7E4DDE94B23}"/>
              </a:ext>
            </a:extLst>
          </p:cNvPr>
          <p:cNvSpPr>
            <a:spLocks noGrp="1"/>
          </p:cNvSpPr>
          <p:nvPr>
            <p:ph sz="quarter" idx="10"/>
          </p:nvPr>
        </p:nvSpPr>
        <p:spPr>
          <a:xfrm>
            <a:off x="584200" y="1435100"/>
            <a:ext cx="11018838" cy="3028521"/>
          </a:xfrm>
        </p:spPr>
        <p:txBody>
          <a:bodyPr vert="horz" wrap="square" lIns="0" tIns="0" rIns="0" bIns="0" rtlCol="0" anchor="t">
            <a:spAutoFit/>
          </a:bodyPr>
          <a:lstStyle/>
          <a:p>
            <a:r>
              <a:rPr lang="en-US" dirty="0">
                <a:cs typeface="Segoe UI"/>
              </a:rPr>
              <a:t>Multiple currencies are supported</a:t>
            </a:r>
          </a:p>
          <a:p>
            <a:r>
              <a:rPr lang="en-US" dirty="0">
                <a:cs typeface="Segoe UI"/>
              </a:rPr>
              <a:t>Recurring billing and auto-renew</a:t>
            </a:r>
          </a:p>
          <a:p>
            <a:r>
              <a:rPr lang="en-US" dirty="0">
                <a:cs typeface="Segoe UI"/>
              </a:rPr>
              <a:t>Invoices are emailed monthly</a:t>
            </a:r>
          </a:p>
          <a:p>
            <a:pPr lvl="1"/>
            <a:r>
              <a:rPr lang="en-US" dirty="0">
                <a:cs typeface="Segoe UI"/>
              </a:rPr>
              <a:t>Enterprise Agreement customers receive a combined Azure consumption and Marketplace invoice</a:t>
            </a:r>
          </a:p>
          <a:p>
            <a:pPr lvl="1"/>
            <a:r>
              <a:rPr lang="en-US" dirty="0">
                <a:cs typeface="Segoe UI"/>
              </a:rPr>
              <a:t>Marketplace customers receive a bill only from Marketplace</a:t>
            </a:r>
          </a:p>
          <a:p>
            <a:r>
              <a:rPr lang="en-US" dirty="0">
                <a:cs typeface="Segoe UI"/>
              </a:rPr>
              <a:t>Charges are calculated on the date of purchase</a:t>
            </a:r>
          </a:p>
        </p:txBody>
      </p:sp>
    </p:spTree>
    <p:extLst>
      <p:ext uri="{BB962C8B-B14F-4D97-AF65-F5344CB8AC3E}">
        <p14:creationId xmlns:p14="http://schemas.microsoft.com/office/powerpoint/2010/main" val="4196600117"/>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1E98F374-AEB3-0659-95E2-34C88EF9BD14}"/>
              </a:ext>
            </a:extLst>
          </p:cNvPr>
          <p:cNvSpPr/>
          <p:nvPr/>
        </p:nvSpPr>
        <p:spPr bwMode="auto">
          <a:xfrm>
            <a:off x="3588977" y="876300"/>
            <a:ext cx="8603023" cy="5391150"/>
          </a:xfrm>
          <a:custGeom>
            <a:avLst/>
            <a:gdLst>
              <a:gd name="connsiteX0" fmla="*/ 368916 w 8603023"/>
              <a:gd name="connsiteY0" fmla="*/ 0 h 5391150"/>
              <a:gd name="connsiteX1" fmla="*/ 8603023 w 8603023"/>
              <a:gd name="connsiteY1" fmla="*/ 0 h 5391150"/>
              <a:gd name="connsiteX2" fmla="*/ 8603023 w 8603023"/>
              <a:gd name="connsiteY2" fmla="*/ 5391150 h 5391150"/>
              <a:gd name="connsiteX3" fmla="*/ 368916 w 8603023"/>
              <a:gd name="connsiteY3" fmla="*/ 5391150 h 5391150"/>
              <a:gd name="connsiteX4" fmla="*/ 0 w 8603023"/>
              <a:gd name="connsiteY4" fmla="*/ 5022234 h 5391150"/>
              <a:gd name="connsiteX5" fmla="*/ 0 w 8603023"/>
              <a:gd name="connsiteY5" fmla="*/ 368916 h 5391150"/>
              <a:gd name="connsiteX6" fmla="*/ 368916 w 8603023"/>
              <a:gd name="connsiteY6" fmla="*/ 0 h 539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3023" h="5391150">
                <a:moveTo>
                  <a:pt x="368916" y="0"/>
                </a:moveTo>
                <a:lnTo>
                  <a:pt x="8603023" y="0"/>
                </a:lnTo>
                <a:lnTo>
                  <a:pt x="8603023" y="5391150"/>
                </a:lnTo>
                <a:lnTo>
                  <a:pt x="368916" y="5391150"/>
                </a:lnTo>
                <a:cubicBezTo>
                  <a:pt x="165169" y="5391150"/>
                  <a:pt x="0" y="5225981"/>
                  <a:pt x="0" y="5022234"/>
                </a:cubicBezTo>
                <a:lnTo>
                  <a:pt x="0" y="368916"/>
                </a:lnTo>
                <a:cubicBezTo>
                  <a:pt x="0" y="165169"/>
                  <a:pt x="165169" y="0"/>
                  <a:pt x="368916" y="0"/>
                </a:cubicBezTo>
                <a:close/>
              </a:path>
            </a:pathLst>
          </a:cu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err="1">
              <a:solidFill>
                <a:srgbClr val="FFFFFF"/>
              </a:solidFill>
              <a:cs typeface="Segoe UI" pitchFamily="34" charset="0"/>
            </a:endParaRPr>
          </a:p>
        </p:txBody>
      </p:sp>
      <p:sp>
        <p:nvSpPr>
          <p:cNvPr id="11" name="Freeform: Shape 10">
            <a:extLst>
              <a:ext uri="{FF2B5EF4-FFF2-40B4-BE49-F238E27FC236}">
                <a16:creationId xmlns:a16="http://schemas.microsoft.com/office/drawing/2014/main" id="{29DC32FC-7D88-4098-BBDA-40061F133983}"/>
              </a:ext>
            </a:extLst>
          </p:cNvPr>
          <p:cNvSpPr>
            <a:spLocks/>
          </p:cNvSpPr>
          <p:nvPr/>
        </p:nvSpPr>
        <p:spPr bwMode="auto">
          <a:xfrm flipV="1">
            <a:off x="0" y="1"/>
            <a:ext cx="3276600" cy="6267449"/>
          </a:xfrm>
          <a:custGeom>
            <a:avLst/>
            <a:gdLst>
              <a:gd name="connsiteX0" fmla="*/ 0 w 3276600"/>
              <a:gd name="connsiteY0" fmla="*/ 6267449 h 6267449"/>
              <a:gd name="connsiteX1" fmla="*/ 3276600 w 3276600"/>
              <a:gd name="connsiteY1" fmla="*/ 6267449 h 6267449"/>
              <a:gd name="connsiteX2" fmla="*/ 3276600 w 3276600"/>
              <a:gd name="connsiteY2" fmla="*/ 238149 h 6267449"/>
              <a:gd name="connsiteX3" fmla="*/ 3038451 w 3276600"/>
              <a:gd name="connsiteY3" fmla="*/ 0 h 6267449"/>
              <a:gd name="connsiteX4" fmla="*/ 0 w 3276600"/>
              <a:gd name="connsiteY4" fmla="*/ 0 h 6267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6600" h="6267449">
                <a:moveTo>
                  <a:pt x="0" y="6267449"/>
                </a:moveTo>
                <a:lnTo>
                  <a:pt x="3276600" y="6267449"/>
                </a:lnTo>
                <a:lnTo>
                  <a:pt x="3276600" y="238149"/>
                </a:lnTo>
                <a:cubicBezTo>
                  <a:pt x="3276600" y="106623"/>
                  <a:pt x="3169977" y="0"/>
                  <a:pt x="3038451" y="0"/>
                </a:cubicBezTo>
                <a:lnTo>
                  <a:pt x="0" y="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12" name="Freeform: Shape 11">
            <a:extLst>
              <a:ext uri="{FF2B5EF4-FFF2-40B4-BE49-F238E27FC236}">
                <a16:creationId xmlns:a16="http://schemas.microsoft.com/office/drawing/2014/main" id="{365BE44E-89D5-8293-A3E1-4536B5D3B526}"/>
              </a:ext>
            </a:extLst>
          </p:cNvPr>
          <p:cNvSpPr/>
          <p:nvPr/>
        </p:nvSpPr>
        <p:spPr bwMode="auto">
          <a:xfrm>
            <a:off x="3729802" y="1014692"/>
            <a:ext cx="8462198" cy="610908"/>
          </a:xfrm>
          <a:custGeom>
            <a:avLst/>
            <a:gdLst>
              <a:gd name="connsiteX0" fmla="*/ 0 w 8462198"/>
              <a:gd name="connsiteY0" fmla="*/ 305453 h 610908"/>
              <a:gd name="connsiteX1" fmla="*/ 0 w 8462198"/>
              <a:gd name="connsiteY1" fmla="*/ 305454 h 610908"/>
              <a:gd name="connsiteX2" fmla="*/ 0 w 8462198"/>
              <a:gd name="connsiteY2" fmla="*/ 305454 h 610908"/>
              <a:gd name="connsiteX3" fmla="*/ 305454 w 8462198"/>
              <a:gd name="connsiteY3" fmla="*/ 0 h 610908"/>
              <a:gd name="connsiteX4" fmla="*/ 8462198 w 8462198"/>
              <a:gd name="connsiteY4" fmla="*/ 0 h 610908"/>
              <a:gd name="connsiteX5" fmla="*/ 8462198 w 8462198"/>
              <a:gd name="connsiteY5" fmla="*/ 610908 h 610908"/>
              <a:gd name="connsiteX6" fmla="*/ 305454 w 8462198"/>
              <a:gd name="connsiteY6" fmla="*/ 610907 h 610908"/>
              <a:gd name="connsiteX7" fmla="*/ 24004 w 8462198"/>
              <a:gd name="connsiteY7" fmla="*/ 424350 h 610908"/>
              <a:gd name="connsiteX8" fmla="*/ 0 w 8462198"/>
              <a:gd name="connsiteY8" fmla="*/ 305454 h 610908"/>
              <a:gd name="connsiteX9" fmla="*/ 24004 w 8462198"/>
              <a:gd name="connsiteY9" fmla="*/ 186557 h 610908"/>
              <a:gd name="connsiteX10" fmla="*/ 305454 w 8462198"/>
              <a:gd name="connsiteY10" fmla="*/ 0 h 610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462198" h="610908">
                <a:moveTo>
                  <a:pt x="0" y="305453"/>
                </a:moveTo>
                <a:lnTo>
                  <a:pt x="0" y="305454"/>
                </a:lnTo>
                <a:lnTo>
                  <a:pt x="0" y="305454"/>
                </a:lnTo>
                <a:close/>
                <a:moveTo>
                  <a:pt x="305454" y="0"/>
                </a:moveTo>
                <a:lnTo>
                  <a:pt x="8462198" y="0"/>
                </a:lnTo>
                <a:lnTo>
                  <a:pt x="8462198" y="610908"/>
                </a:lnTo>
                <a:lnTo>
                  <a:pt x="305454" y="610907"/>
                </a:lnTo>
                <a:cubicBezTo>
                  <a:pt x="178931" y="610907"/>
                  <a:pt x="70375" y="533982"/>
                  <a:pt x="24004" y="424350"/>
                </a:cubicBezTo>
                <a:lnTo>
                  <a:pt x="0" y="305454"/>
                </a:lnTo>
                <a:lnTo>
                  <a:pt x="24004" y="186557"/>
                </a:lnTo>
                <a:cubicBezTo>
                  <a:pt x="70375" y="76925"/>
                  <a:pt x="178931" y="0"/>
                  <a:pt x="305454" y="0"/>
                </a:cubicBezTo>
                <a:close/>
              </a:path>
            </a:pathLst>
          </a:custGeom>
          <a:solidFill>
            <a:schemeClr val="accent1">
              <a:lumMod val="20000"/>
              <a:lumOff val="80000"/>
            </a:schemeClr>
          </a:solidFill>
          <a:ln w="6350">
            <a:noFill/>
          </a:ln>
        </p:spPr>
        <p:style>
          <a:lnRef idx="0">
            <a:scrgbClr r="0" g="0" b="0"/>
          </a:lnRef>
          <a:fillRef idx="0">
            <a:scrgbClr r="0" g="0" b="0"/>
          </a:fillRef>
          <a:effectRef idx="0">
            <a:scrgbClr r="0" g="0" b="0"/>
          </a:effectRef>
          <a:fontRef idx="minor">
            <a:schemeClr val="lt1"/>
          </a:fontRef>
        </p:style>
        <p:txBody>
          <a:bodyPr spcFirstLastPara="0" vert="horz" wrap="square" lIns="658368" tIns="45720" rIns="91440" bIns="45720" numCol="1" spcCol="1270" anchor="ctr" anchorCtr="0">
            <a:noAutofit/>
          </a:bodyPr>
          <a:lstStyle/>
          <a:p>
            <a:pPr marL="0" marR="0" lvl="0" indent="0" defTabSz="914367"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chemeClr val="bg1"/>
                </a:solidFill>
                <a:effectLst/>
                <a:uLnTx/>
                <a:uFillTx/>
                <a:latin typeface="+mj-lt"/>
                <a:ea typeface="+mn-ea"/>
                <a:cs typeface="+mn-cs"/>
              </a:rPr>
              <a:t>What you learned:</a:t>
            </a:r>
            <a:endParaRPr lang="en-US" sz="2400" b="1" i="0" u="none" strike="noStrike" kern="1200" cap="none" spc="0" normalizeH="0" baseline="0" noProof="0">
              <a:ln>
                <a:noFill/>
              </a:ln>
              <a:solidFill>
                <a:schemeClr val="bg1"/>
              </a:solidFill>
              <a:effectLst/>
              <a:uLnTx/>
              <a:uFillTx/>
              <a:latin typeface="+mj-lt"/>
              <a:cs typeface="Segoe UI Semibold"/>
            </a:endParaRPr>
          </a:p>
        </p:txBody>
      </p:sp>
      <p:grpSp>
        <p:nvGrpSpPr>
          <p:cNvPr id="13" name="Group 12">
            <a:extLst>
              <a:ext uri="{FF2B5EF4-FFF2-40B4-BE49-F238E27FC236}">
                <a16:creationId xmlns:a16="http://schemas.microsoft.com/office/drawing/2014/main" id="{36A25F59-5F30-9691-A845-51AAB6A9473E}"/>
              </a:ext>
            </a:extLst>
          </p:cNvPr>
          <p:cNvGrpSpPr/>
          <p:nvPr/>
        </p:nvGrpSpPr>
        <p:grpSpPr>
          <a:xfrm>
            <a:off x="3810887" y="1094371"/>
            <a:ext cx="451551" cy="451551"/>
            <a:chOff x="4863421" y="201635"/>
            <a:chExt cx="1828801" cy="1828801"/>
          </a:xfrm>
        </p:grpSpPr>
        <p:sp>
          <p:nvSpPr>
            <p:cNvPr id="14" name="Freeform: Shape 11">
              <a:extLst>
                <a:ext uri="{FF2B5EF4-FFF2-40B4-BE49-F238E27FC236}">
                  <a16:creationId xmlns:a16="http://schemas.microsoft.com/office/drawing/2014/main" id="{9E707223-9C65-B128-5EE9-740E5AA91A4F}"/>
                </a:ext>
              </a:extLst>
            </p:cNvPr>
            <p:cNvSpPr>
              <a:spLocks/>
            </p:cNvSpPr>
            <p:nvPr/>
          </p:nvSpPr>
          <p:spPr bwMode="auto">
            <a:xfrm>
              <a:off x="4863421" y="201635"/>
              <a:ext cx="1828801" cy="1828801"/>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696C3B90-A1CC-5EB4-B8A1-7E544F343939}"/>
                </a:ext>
              </a:extLst>
            </p:cNvPr>
            <p:cNvSpPr>
              <a:spLocks/>
            </p:cNvSpPr>
            <p:nvPr/>
          </p:nvSpPr>
          <p:spPr bwMode="auto">
            <a:xfrm>
              <a:off x="5085647" y="423863"/>
              <a:ext cx="1384344" cy="138434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nvGrpSpPr>
          <p:cNvPr id="17" name="Group 16">
            <a:extLst>
              <a:ext uri="{FF2B5EF4-FFF2-40B4-BE49-F238E27FC236}">
                <a16:creationId xmlns:a16="http://schemas.microsoft.com/office/drawing/2014/main" id="{A8CCFE43-739D-C985-CAC3-96A49E2897A7}"/>
              </a:ext>
            </a:extLst>
          </p:cNvPr>
          <p:cNvGrpSpPr/>
          <p:nvPr/>
        </p:nvGrpSpPr>
        <p:grpSpPr>
          <a:xfrm>
            <a:off x="3987847" y="1739668"/>
            <a:ext cx="7621541" cy="276999"/>
            <a:chOff x="3987847" y="1739668"/>
            <a:chExt cx="7621541" cy="276999"/>
          </a:xfrm>
        </p:grpSpPr>
        <p:sp>
          <p:nvSpPr>
            <p:cNvPr id="18" name="TextBox 17">
              <a:extLst>
                <a:ext uri="{FF2B5EF4-FFF2-40B4-BE49-F238E27FC236}">
                  <a16:creationId xmlns:a16="http://schemas.microsoft.com/office/drawing/2014/main" id="{7D66421A-6C08-23BB-D770-A2A0FF91DD1C}"/>
                </a:ext>
              </a:extLst>
            </p:cNvPr>
            <p:cNvSpPr txBox="1"/>
            <p:nvPr/>
          </p:nvSpPr>
          <p:spPr>
            <a:xfrm>
              <a:off x="4214813" y="1739668"/>
              <a:ext cx="7394575" cy="276999"/>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defTabSz="932472" fontAlgn="base">
                <a:spcBef>
                  <a:spcPct val="0"/>
                </a:spcBef>
                <a:spcAft>
                  <a:spcPct val="0"/>
                </a:spcAft>
                <a:defRPr sz="2000">
                  <a:solidFill>
                    <a:srgbClr val="FFFFFF"/>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dirty="0">
                  <a:solidFill>
                    <a:schemeClr val="tx1"/>
                  </a:solidFill>
                  <a:cs typeface="Segoe UI"/>
                </a:rPr>
                <a:t>Explain the use and benefits of Microsoft Marketplace.</a:t>
              </a:r>
            </a:p>
          </p:txBody>
        </p:sp>
        <p:sp>
          <p:nvSpPr>
            <p:cNvPr id="19" name="Freeform: Shape 11">
              <a:extLst>
                <a:ext uri="{FF2B5EF4-FFF2-40B4-BE49-F238E27FC236}">
                  <a16:creationId xmlns:a16="http://schemas.microsoft.com/office/drawing/2014/main" id="{BEC23B18-2C86-B81C-B0D6-169D7982838A}"/>
                </a:ext>
              </a:extLst>
            </p:cNvPr>
            <p:cNvSpPr>
              <a:spLocks/>
            </p:cNvSpPr>
            <p:nvPr/>
          </p:nvSpPr>
          <p:spPr bwMode="auto">
            <a:xfrm>
              <a:off x="3987847" y="1829352"/>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nvGrpSpPr>
          <p:cNvPr id="20" name="Group 19">
            <a:extLst>
              <a:ext uri="{FF2B5EF4-FFF2-40B4-BE49-F238E27FC236}">
                <a16:creationId xmlns:a16="http://schemas.microsoft.com/office/drawing/2014/main" id="{A36623D1-3D23-0F58-776F-2F2922A3B9F7}"/>
              </a:ext>
            </a:extLst>
          </p:cNvPr>
          <p:cNvGrpSpPr/>
          <p:nvPr/>
        </p:nvGrpSpPr>
        <p:grpSpPr>
          <a:xfrm>
            <a:off x="3987847" y="2600008"/>
            <a:ext cx="7621541" cy="276999"/>
            <a:chOff x="3987847" y="2196868"/>
            <a:chExt cx="7621541" cy="276999"/>
          </a:xfrm>
        </p:grpSpPr>
        <p:sp>
          <p:nvSpPr>
            <p:cNvPr id="21" name="TextBox 20">
              <a:extLst>
                <a:ext uri="{FF2B5EF4-FFF2-40B4-BE49-F238E27FC236}">
                  <a16:creationId xmlns:a16="http://schemas.microsoft.com/office/drawing/2014/main" id="{87ACA6E9-9681-99AA-65E6-65303BA5F10F}"/>
                </a:ext>
              </a:extLst>
            </p:cNvPr>
            <p:cNvSpPr txBox="1"/>
            <p:nvPr/>
          </p:nvSpPr>
          <p:spPr>
            <a:xfrm>
              <a:off x="4214813" y="2196868"/>
              <a:ext cx="7394575" cy="276999"/>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defTabSz="932472" fontAlgn="base">
                <a:spcBef>
                  <a:spcPct val="0"/>
                </a:spcBef>
                <a:spcAft>
                  <a:spcPct val="0"/>
                </a:spcAft>
                <a:defRPr sz="2000">
                  <a:solidFill>
                    <a:srgbClr val="FFFFFF"/>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dirty="0">
                  <a:solidFill>
                    <a:schemeClr val="tx1"/>
                  </a:solidFill>
                  <a:cs typeface="Segoe UI"/>
                </a:rPr>
                <a:t>Understand the ways to purchase solutions through Marketplace.</a:t>
              </a:r>
            </a:p>
          </p:txBody>
        </p:sp>
        <p:sp>
          <p:nvSpPr>
            <p:cNvPr id="22" name="Freeform: Shape 11">
              <a:extLst>
                <a:ext uri="{FF2B5EF4-FFF2-40B4-BE49-F238E27FC236}">
                  <a16:creationId xmlns:a16="http://schemas.microsoft.com/office/drawing/2014/main" id="{09449F40-04F6-ABB9-9A7F-8FA3A3AA7CF6}"/>
                </a:ext>
              </a:extLst>
            </p:cNvPr>
            <p:cNvSpPr>
              <a:spLocks/>
            </p:cNvSpPr>
            <p:nvPr/>
          </p:nvSpPr>
          <p:spPr bwMode="auto">
            <a:xfrm>
              <a:off x="3987847" y="2286552"/>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nvGrpSpPr>
          <p:cNvPr id="23" name="Group 22">
            <a:extLst>
              <a:ext uri="{FF2B5EF4-FFF2-40B4-BE49-F238E27FC236}">
                <a16:creationId xmlns:a16="http://schemas.microsoft.com/office/drawing/2014/main" id="{9A24B8EE-D560-1520-6402-D508AEA160A5}"/>
              </a:ext>
            </a:extLst>
          </p:cNvPr>
          <p:cNvGrpSpPr/>
          <p:nvPr/>
        </p:nvGrpSpPr>
        <p:grpSpPr>
          <a:xfrm>
            <a:off x="3987847" y="3183349"/>
            <a:ext cx="7621541" cy="276999"/>
            <a:chOff x="3987847" y="2730268"/>
            <a:chExt cx="7621541" cy="276999"/>
          </a:xfrm>
        </p:grpSpPr>
        <p:sp>
          <p:nvSpPr>
            <p:cNvPr id="24" name="TextBox 23">
              <a:extLst>
                <a:ext uri="{FF2B5EF4-FFF2-40B4-BE49-F238E27FC236}">
                  <a16:creationId xmlns:a16="http://schemas.microsoft.com/office/drawing/2014/main" id="{86B4A3BC-B5A8-2BE0-1133-3BA9CB7EDFAB}"/>
                </a:ext>
              </a:extLst>
            </p:cNvPr>
            <p:cNvSpPr txBox="1"/>
            <p:nvPr/>
          </p:nvSpPr>
          <p:spPr>
            <a:xfrm>
              <a:off x="4214813" y="2730268"/>
              <a:ext cx="7394575" cy="276999"/>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defTabSz="932472" fontAlgn="base">
                <a:spcBef>
                  <a:spcPct val="0"/>
                </a:spcBef>
                <a:spcAft>
                  <a:spcPct val="0"/>
                </a:spcAft>
                <a:defRPr sz="2000">
                  <a:solidFill>
                    <a:srgbClr val="FFFFFF"/>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dirty="0">
                  <a:solidFill>
                    <a:schemeClr val="tx1"/>
                  </a:solidFill>
                  <a:cs typeface="Segoe UI"/>
                </a:rPr>
                <a:t>Use the Marketplace to purchase Azure resources.</a:t>
              </a:r>
            </a:p>
          </p:txBody>
        </p:sp>
        <p:sp>
          <p:nvSpPr>
            <p:cNvPr id="25" name="Freeform: Shape 11">
              <a:extLst>
                <a:ext uri="{FF2B5EF4-FFF2-40B4-BE49-F238E27FC236}">
                  <a16:creationId xmlns:a16="http://schemas.microsoft.com/office/drawing/2014/main" id="{5843A920-1A98-FC76-90A2-BAB5C9934C2A}"/>
                </a:ext>
              </a:extLst>
            </p:cNvPr>
            <p:cNvSpPr>
              <a:spLocks/>
            </p:cNvSpPr>
            <p:nvPr/>
          </p:nvSpPr>
          <p:spPr bwMode="auto">
            <a:xfrm>
              <a:off x="3987847" y="2819952"/>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nvGrpSpPr>
          <p:cNvPr id="26" name="Group 25">
            <a:extLst>
              <a:ext uri="{FF2B5EF4-FFF2-40B4-BE49-F238E27FC236}">
                <a16:creationId xmlns:a16="http://schemas.microsoft.com/office/drawing/2014/main" id="{5F45A99C-0F08-B917-C9A0-7C536D1D90BB}"/>
              </a:ext>
            </a:extLst>
          </p:cNvPr>
          <p:cNvGrpSpPr/>
          <p:nvPr/>
        </p:nvGrpSpPr>
        <p:grpSpPr>
          <a:xfrm>
            <a:off x="3987847" y="4043689"/>
            <a:ext cx="7621541" cy="276999"/>
            <a:chOff x="3987847" y="3187468"/>
            <a:chExt cx="7621541" cy="276999"/>
          </a:xfrm>
        </p:grpSpPr>
        <p:sp>
          <p:nvSpPr>
            <p:cNvPr id="27" name="TextBox 26">
              <a:extLst>
                <a:ext uri="{FF2B5EF4-FFF2-40B4-BE49-F238E27FC236}">
                  <a16:creationId xmlns:a16="http://schemas.microsoft.com/office/drawing/2014/main" id="{9ADD736A-323E-6575-0C10-C5BD32DE5235}"/>
                </a:ext>
              </a:extLst>
            </p:cNvPr>
            <p:cNvSpPr txBox="1"/>
            <p:nvPr/>
          </p:nvSpPr>
          <p:spPr>
            <a:xfrm>
              <a:off x="4214813" y="3187468"/>
              <a:ext cx="7394575" cy="276999"/>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defTabSz="932472" fontAlgn="base">
                <a:spcBef>
                  <a:spcPct val="0"/>
                </a:spcBef>
                <a:spcAft>
                  <a:spcPct val="0"/>
                </a:spcAft>
                <a:defRPr sz="2000">
                  <a:solidFill>
                    <a:srgbClr val="FFFFFF"/>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dirty="0">
                  <a:solidFill>
                    <a:schemeClr val="tx1"/>
                  </a:solidFill>
                  <a:cs typeface="Segoe UI"/>
                </a:rPr>
                <a:t>Use the Marketplace to purchase SaaS applications.</a:t>
              </a:r>
            </a:p>
          </p:txBody>
        </p:sp>
        <p:sp>
          <p:nvSpPr>
            <p:cNvPr id="28" name="Freeform: Shape 11">
              <a:extLst>
                <a:ext uri="{FF2B5EF4-FFF2-40B4-BE49-F238E27FC236}">
                  <a16:creationId xmlns:a16="http://schemas.microsoft.com/office/drawing/2014/main" id="{660F54D9-F7C0-B6C5-1B75-003EF71FE117}"/>
                </a:ext>
              </a:extLst>
            </p:cNvPr>
            <p:cNvSpPr>
              <a:spLocks/>
            </p:cNvSpPr>
            <p:nvPr/>
          </p:nvSpPr>
          <p:spPr bwMode="auto">
            <a:xfrm>
              <a:off x="3987847" y="3277152"/>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nvGrpSpPr>
          <p:cNvPr id="29" name="Group 28">
            <a:extLst>
              <a:ext uri="{FF2B5EF4-FFF2-40B4-BE49-F238E27FC236}">
                <a16:creationId xmlns:a16="http://schemas.microsoft.com/office/drawing/2014/main" id="{9481AA04-0DDB-A3FD-ED50-47E2C2A045A3}"/>
              </a:ext>
            </a:extLst>
          </p:cNvPr>
          <p:cNvGrpSpPr/>
          <p:nvPr/>
        </p:nvGrpSpPr>
        <p:grpSpPr>
          <a:xfrm>
            <a:off x="3987847" y="4904027"/>
            <a:ext cx="7621541" cy="276999"/>
            <a:chOff x="3987847" y="4216168"/>
            <a:chExt cx="7621541" cy="276999"/>
          </a:xfrm>
        </p:grpSpPr>
        <p:sp>
          <p:nvSpPr>
            <p:cNvPr id="30" name="TextBox 29">
              <a:extLst>
                <a:ext uri="{FF2B5EF4-FFF2-40B4-BE49-F238E27FC236}">
                  <a16:creationId xmlns:a16="http://schemas.microsoft.com/office/drawing/2014/main" id="{3DB7542E-ADDB-131A-48BF-8DE17592FCF3}"/>
                </a:ext>
              </a:extLst>
            </p:cNvPr>
            <p:cNvSpPr txBox="1"/>
            <p:nvPr/>
          </p:nvSpPr>
          <p:spPr>
            <a:xfrm>
              <a:off x="4214813" y="4216168"/>
              <a:ext cx="7394575" cy="276999"/>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defTabSz="932472" fontAlgn="base">
                <a:spcBef>
                  <a:spcPct val="0"/>
                </a:spcBef>
                <a:spcAft>
                  <a:spcPct val="0"/>
                </a:spcAft>
                <a:defRPr sz="2000">
                  <a:solidFill>
                    <a:srgbClr val="FFFFFF"/>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dirty="0">
                  <a:solidFill>
                    <a:schemeClr val="tx1"/>
                  </a:solidFill>
                  <a:cs typeface="Segoe UI"/>
                </a:rPr>
                <a:t>Deploy resources and applications from the Marketplace.</a:t>
              </a:r>
            </a:p>
          </p:txBody>
        </p:sp>
        <p:sp>
          <p:nvSpPr>
            <p:cNvPr id="31" name="Freeform: Shape 11">
              <a:extLst>
                <a:ext uri="{FF2B5EF4-FFF2-40B4-BE49-F238E27FC236}">
                  <a16:creationId xmlns:a16="http://schemas.microsoft.com/office/drawing/2014/main" id="{530A2CE9-FD4F-96BD-D4BB-79961745B4D0}"/>
                </a:ext>
              </a:extLst>
            </p:cNvPr>
            <p:cNvSpPr>
              <a:spLocks/>
            </p:cNvSpPr>
            <p:nvPr/>
          </p:nvSpPr>
          <p:spPr bwMode="auto">
            <a:xfrm>
              <a:off x="3987847" y="4305852"/>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aphicFrame>
        <p:nvGraphicFramePr>
          <p:cNvPr id="3" name="Object 2" hidden="1">
            <a:extLst>
              <a:ext uri="{FF2B5EF4-FFF2-40B4-BE49-F238E27FC236}">
                <a16:creationId xmlns:a16="http://schemas.microsoft.com/office/drawing/2014/main" id="{91CED119-E761-2C7A-CBFF-8BECA8755C75}"/>
              </a:ext>
            </a:extLst>
          </p:cNvPr>
          <p:cNvGraphicFramePr>
            <a:graphicFrameLocks noChangeAspect="1"/>
          </p:cNvGraphicFramePr>
          <p:nvPr>
            <p:custDataLst>
              <p:tags r:id="rId1"/>
            </p:custDataLst>
            <p:extLst>
              <p:ext uri="{D42A27DB-BD31-4B8C-83A1-F6EECF244321}">
                <p14:modId xmlns:p14="http://schemas.microsoft.com/office/powerpoint/2010/main" val="2257047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91CED119-E761-2C7A-CBFF-8BECA8755C7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B9AEBD2-4AD6-4182-BF38-A3DE71D14CCF}"/>
              </a:ext>
            </a:extLst>
          </p:cNvPr>
          <p:cNvSpPr>
            <a:spLocks noGrp="1"/>
          </p:cNvSpPr>
          <p:nvPr>
            <p:ph type="title"/>
          </p:nvPr>
        </p:nvSpPr>
        <p:spPr/>
        <p:txBody>
          <a:bodyPr/>
          <a:lstStyle/>
          <a:p>
            <a:r>
              <a:rPr lang="en-US">
                <a:solidFill>
                  <a:schemeClr val="bg1"/>
                </a:solidFill>
              </a:rPr>
              <a:t>Summary</a:t>
            </a:r>
          </a:p>
        </p:txBody>
      </p:sp>
      <p:sp>
        <p:nvSpPr>
          <p:cNvPr id="4" name="Education" title="Icon of a rolled paper with a ribbon stamped on it">
            <a:extLst>
              <a:ext uri="{FF2B5EF4-FFF2-40B4-BE49-F238E27FC236}">
                <a16:creationId xmlns:a16="http://schemas.microsoft.com/office/drawing/2014/main" id="{19877CA7-EF8C-C5D6-5447-374FC3F4BD36}"/>
              </a:ext>
            </a:extLst>
          </p:cNvPr>
          <p:cNvSpPr>
            <a:spLocks noChangeAspect="1" noEditPoints="1"/>
          </p:cNvSpPr>
          <p:nvPr/>
        </p:nvSpPr>
        <p:spPr bwMode="auto">
          <a:xfrm>
            <a:off x="3941889" y="1225373"/>
            <a:ext cx="189546" cy="189546"/>
          </a:xfrm>
          <a:custGeom>
            <a:avLst/>
            <a:gdLst>
              <a:gd name="T0" fmla="*/ 35 w 350"/>
              <a:gd name="T1" fmla="*/ 350 h 350"/>
              <a:gd name="T2" fmla="*/ 10 w 350"/>
              <a:gd name="T3" fmla="*/ 340 h 350"/>
              <a:gd name="T4" fmla="*/ 0 w 350"/>
              <a:gd name="T5" fmla="*/ 315 h 350"/>
              <a:gd name="T6" fmla="*/ 10 w 350"/>
              <a:gd name="T7" fmla="*/ 290 h 350"/>
              <a:gd name="T8" fmla="*/ 35 w 350"/>
              <a:gd name="T9" fmla="*/ 280 h 350"/>
              <a:gd name="T10" fmla="*/ 175 w 350"/>
              <a:gd name="T11" fmla="*/ 280 h 350"/>
              <a:gd name="T12" fmla="*/ 245 w 350"/>
              <a:gd name="T13" fmla="*/ 280 h 350"/>
              <a:gd name="T14" fmla="*/ 220 w 350"/>
              <a:gd name="T15" fmla="*/ 290 h 350"/>
              <a:gd name="T16" fmla="*/ 210 w 350"/>
              <a:gd name="T17" fmla="*/ 315 h 350"/>
              <a:gd name="T18" fmla="*/ 220 w 350"/>
              <a:gd name="T19" fmla="*/ 340 h 350"/>
              <a:gd name="T20" fmla="*/ 245 w 350"/>
              <a:gd name="T21" fmla="*/ 350 h 350"/>
              <a:gd name="T22" fmla="*/ 280 w 350"/>
              <a:gd name="T23" fmla="*/ 70 h 350"/>
              <a:gd name="T24" fmla="*/ 315 w 350"/>
              <a:gd name="T25" fmla="*/ 70 h 350"/>
              <a:gd name="T26" fmla="*/ 350 w 350"/>
              <a:gd name="T27" fmla="*/ 35 h 350"/>
              <a:gd name="T28" fmla="*/ 315 w 350"/>
              <a:gd name="T29" fmla="*/ 0 h 350"/>
              <a:gd name="T30" fmla="*/ 280 w 350"/>
              <a:gd name="T31" fmla="*/ 35 h 350"/>
              <a:gd name="T32" fmla="*/ 280 w 350"/>
              <a:gd name="T33" fmla="*/ 222 h 350"/>
              <a:gd name="T34" fmla="*/ 314 w 350"/>
              <a:gd name="T35" fmla="*/ 0 h 350"/>
              <a:gd name="T36" fmla="*/ 82 w 350"/>
              <a:gd name="T37" fmla="*/ 0 h 350"/>
              <a:gd name="T38" fmla="*/ 47 w 350"/>
              <a:gd name="T39" fmla="*/ 35 h 350"/>
              <a:gd name="T40" fmla="*/ 47 w 350"/>
              <a:gd name="T41" fmla="*/ 268 h 350"/>
              <a:gd name="T42" fmla="*/ 280 w 350"/>
              <a:gd name="T43" fmla="*/ 222 h 350"/>
              <a:gd name="T44" fmla="*/ 280 w 350"/>
              <a:gd name="T45" fmla="*/ 315 h 350"/>
              <a:gd name="T46" fmla="*/ 35 w 350"/>
              <a:gd name="T47" fmla="*/ 350 h 350"/>
              <a:gd name="T48" fmla="*/ 245 w 350"/>
              <a:gd name="T49" fmla="*/ 350 h 350"/>
              <a:gd name="T50" fmla="*/ 280 w 350"/>
              <a:gd name="T51" fmla="*/ 315 h 350"/>
              <a:gd name="T52" fmla="*/ 82 w 350"/>
              <a:gd name="T53" fmla="*/ 70 h 350"/>
              <a:gd name="T54" fmla="*/ 245 w 350"/>
              <a:gd name="T55" fmla="*/ 70 h 350"/>
              <a:gd name="T56" fmla="*/ 82 w 350"/>
              <a:gd name="T57" fmla="*/ 117 h 350"/>
              <a:gd name="T58" fmla="*/ 128 w 350"/>
              <a:gd name="T59" fmla="*/ 117 h 350"/>
              <a:gd name="T60" fmla="*/ 82 w 350"/>
              <a:gd name="T61" fmla="*/ 163 h 350"/>
              <a:gd name="T62" fmla="*/ 128 w 350"/>
              <a:gd name="T63" fmla="*/ 163 h 350"/>
              <a:gd name="T64" fmla="*/ 82 w 350"/>
              <a:gd name="T65" fmla="*/ 210 h 350"/>
              <a:gd name="T66" fmla="*/ 128 w 350"/>
              <a:gd name="T67" fmla="*/ 210 h 350"/>
              <a:gd name="T68" fmla="*/ 163 w 350"/>
              <a:gd name="T69" fmla="*/ 152 h 350"/>
              <a:gd name="T70" fmla="*/ 163 w 350"/>
              <a:gd name="T71" fmla="*/ 245 h 350"/>
              <a:gd name="T72" fmla="*/ 198 w 350"/>
              <a:gd name="T73" fmla="*/ 228 h 350"/>
              <a:gd name="T74" fmla="*/ 233 w 350"/>
              <a:gd name="T75" fmla="*/ 245 h 350"/>
              <a:gd name="T76" fmla="*/ 233 w 350"/>
              <a:gd name="T77" fmla="*/ 152 h 350"/>
              <a:gd name="T78" fmla="*/ 198 w 350"/>
              <a:gd name="T79" fmla="*/ 117 h 350"/>
              <a:gd name="T80" fmla="*/ 163 w 350"/>
              <a:gd name="T81" fmla="*/ 152 h 350"/>
              <a:gd name="T82" fmla="*/ 198 w 350"/>
              <a:gd name="T83" fmla="*/ 187 h 350"/>
              <a:gd name="T84" fmla="*/ 233 w 350"/>
              <a:gd name="T85" fmla="*/ 152 h 350"/>
              <a:gd name="T86" fmla="*/ 198 w 350"/>
              <a:gd name="T87" fmla="*/ 117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0" h="350">
                <a:moveTo>
                  <a:pt x="35" y="350"/>
                </a:moveTo>
                <a:cubicBezTo>
                  <a:pt x="25" y="350"/>
                  <a:pt x="17" y="346"/>
                  <a:pt x="10" y="340"/>
                </a:cubicBezTo>
                <a:cubicBezTo>
                  <a:pt x="4" y="333"/>
                  <a:pt x="0" y="325"/>
                  <a:pt x="0" y="315"/>
                </a:cubicBezTo>
                <a:cubicBezTo>
                  <a:pt x="0" y="305"/>
                  <a:pt x="4" y="297"/>
                  <a:pt x="10" y="290"/>
                </a:cubicBezTo>
                <a:cubicBezTo>
                  <a:pt x="17" y="284"/>
                  <a:pt x="25" y="280"/>
                  <a:pt x="35" y="280"/>
                </a:cubicBezTo>
                <a:cubicBezTo>
                  <a:pt x="175" y="280"/>
                  <a:pt x="175" y="280"/>
                  <a:pt x="175" y="280"/>
                </a:cubicBezTo>
                <a:cubicBezTo>
                  <a:pt x="245" y="280"/>
                  <a:pt x="245" y="280"/>
                  <a:pt x="245" y="280"/>
                </a:cubicBezTo>
                <a:cubicBezTo>
                  <a:pt x="235" y="280"/>
                  <a:pt x="227" y="284"/>
                  <a:pt x="220" y="290"/>
                </a:cubicBezTo>
                <a:cubicBezTo>
                  <a:pt x="214" y="297"/>
                  <a:pt x="210" y="305"/>
                  <a:pt x="210" y="315"/>
                </a:cubicBezTo>
                <a:cubicBezTo>
                  <a:pt x="210" y="325"/>
                  <a:pt x="214" y="333"/>
                  <a:pt x="220" y="340"/>
                </a:cubicBezTo>
                <a:cubicBezTo>
                  <a:pt x="227" y="346"/>
                  <a:pt x="235" y="350"/>
                  <a:pt x="245" y="350"/>
                </a:cubicBezTo>
                <a:moveTo>
                  <a:pt x="280" y="70"/>
                </a:moveTo>
                <a:cubicBezTo>
                  <a:pt x="315" y="70"/>
                  <a:pt x="315" y="70"/>
                  <a:pt x="315" y="70"/>
                </a:cubicBezTo>
                <a:cubicBezTo>
                  <a:pt x="334" y="70"/>
                  <a:pt x="350" y="54"/>
                  <a:pt x="350" y="35"/>
                </a:cubicBezTo>
                <a:cubicBezTo>
                  <a:pt x="350" y="16"/>
                  <a:pt x="334" y="0"/>
                  <a:pt x="315" y="0"/>
                </a:cubicBezTo>
                <a:cubicBezTo>
                  <a:pt x="296" y="0"/>
                  <a:pt x="280" y="16"/>
                  <a:pt x="280" y="35"/>
                </a:cubicBezTo>
                <a:cubicBezTo>
                  <a:pt x="280" y="222"/>
                  <a:pt x="280" y="222"/>
                  <a:pt x="280" y="222"/>
                </a:cubicBezTo>
                <a:moveTo>
                  <a:pt x="314" y="0"/>
                </a:moveTo>
                <a:cubicBezTo>
                  <a:pt x="82" y="0"/>
                  <a:pt x="82" y="0"/>
                  <a:pt x="82" y="0"/>
                </a:cubicBezTo>
                <a:cubicBezTo>
                  <a:pt x="62" y="0"/>
                  <a:pt x="47" y="16"/>
                  <a:pt x="47" y="35"/>
                </a:cubicBezTo>
                <a:cubicBezTo>
                  <a:pt x="47" y="268"/>
                  <a:pt x="47" y="268"/>
                  <a:pt x="47" y="268"/>
                </a:cubicBezTo>
                <a:moveTo>
                  <a:pt x="280" y="222"/>
                </a:moveTo>
                <a:cubicBezTo>
                  <a:pt x="280" y="315"/>
                  <a:pt x="280" y="315"/>
                  <a:pt x="280" y="315"/>
                </a:cubicBezTo>
                <a:moveTo>
                  <a:pt x="35" y="350"/>
                </a:moveTo>
                <a:cubicBezTo>
                  <a:pt x="245" y="350"/>
                  <a:pt x="245" y="350"/>
                  <a:pt x="245" y="350"/>
                </a:cubicBezTo>
                <a:cubicBezTo>
                  <a:pt x="264" y="350"/>
                  <a:pt x="280" y="334"/>
                  <a:pt x="280" y="315"/>
                </a:cubicBezTo>
                <a:moveTo>
                  <a:pt x="82" y="70"/>
                </a:moveTo>
                <a:cubicBezTo>
                  <a:pt x="245" y="70"/>
                  <a:pt x="245" y="70"/>
                  <a:pt x="245" y="70"/>
                </a:cubicBezTo>
                <a:moveTo>
                  <a:pt x="82" y="117"/>
                </a:moveTo>
                <a:cubicBezTo>
                  <a:pt x="128" y="117"/>
                  <a:pt x="128" y="117"/>
                  <a:pt x="128" y="117"/>
                </a:cubicBezTo>
                <a:moveTo>
                  <a:pt x="82" y="163"/>
                </a:moveTo>
                <a:cubicBezTo>
                  <a:pt x="128" y="163"/>
                  <a:pt x="128" y="163"/>
                  <a:pt x="128" y="163"/>
                </a:cubicBezTo>
                <a:moveTo>
                  <a:pt x="82" y="210"/>
                </a:moveTo>
                <a:cubicBezTo>
                  <a:pt x="128" y="210"/>
                  <a:pt x="128" y="210"/>
                  <a:pt x="128" y="210"/>
                </a:cubicBezTo>
                <a:moveTo>
                  <a:pt x="163" y="152"/>
                </a:moveTo>
                <a:cubicBezTo>
                  <a:pt x="163" y="245"/>
                  <a:pt x="163" y="245"/>
                  <a:pt x="163" y="245"/>
                </a:cubicBezTo>
                <a:cubicBezTo>
                  <a:pt x="198" y="228"/>
                  <a:pt x="198" y="228"/>
                  <a:pt x="198" y="228"/>
                </a:cubicBezTo>
                <a:cubicBezTo>
                  <a:pt x="233" y="245"/>
                  <a:pt x="233" y="245"/>
                  <a:pt x="233" y="245"/>
                </a:cubicBezTo>
                <a:cubicBezTo>
                  <a:pt x="233" y="152"/>
                  <a:pt x="233" y="152"/>
                  <a:pt x="233" y="152"/>
                </a:cubicBezTo>
                <a:moveTo>
                  <a:pt x="198" y="117"/>
                </a:moveTo>
                <a:cubicBezTo>
                  <a:pt x="179" y="117"/>
                  <a:pt x="163" y="132"/>
                  <a:pt x="163" y="152"/>
                </a:cubicBezTo>
                <a:cubicBezTo>
                  <a:pt x="163" y="171"/>
                  <a:pt x="179" y="187"/>
                  <a:pt x="198" y="187"/>
                </a:cubicBezTo>
                <a:cubicBezTo>
                  <a:pt x="218" y="187"/>
                  <a:pt x="233" y="171"/>
                  <a:pt x="233" y="152"/>
                </a:cubicBezTo>
                <a:cubicBezTo>
                  <a:pt x="233" y="132"/>
                  <a:pt x="218" y="117"/>
                  <a:pt x="198" y="117"/>
                </a:cubicBezTo>
                <a:close/>
              </a:path>
            </a:pathLst>
          </a:custGeom>
          <a:noFill/>
          <a:ln w="12700" cap="sq">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4270848246"/>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B58DB51-7D0F-F03B-7A4F-5721D8CDBA64}"/>
              </a:ext>
            </a:extLst>
          </p:cNvPr>
          <p:cNvSpPr>
            <a:spLocks noGrp="1"/>
          </p:cNvSpPr>
          <p:nvPr>
            <p:ph type="body" sz="quarter" idx="11"/>
          </p:nvPr>
        </p:nvSpPr>
        <p:spPr/>
        <p:txBody>
          <a:bodyPr/>
          <a:lstStyle/>
          <a:p>
            <a:r>
              <a:rPr lang="en-US" dirty="0">
                <a:solidFill>
                  <a:srgbClr val="FFFFFF"/>
                </a:solidFill>
                <a:cs typeface="Segoe UI"/>
              </a:rPr>
              <a:t>10 Minute Break</a:t>
            </a:r>
            <a:endParaRPr lang="en-US" dirty="0">
              <a:solidFill>
                <a:srgbClr val="FFFFFF"/>
              </a:solidFill>
            </a:endParaRPr>
          </a:p>
        </p:txBody>
      </p:sp>
      <p:sp>
        <p:nvSpPr>
          <p:cNvPr id="4" name="Text Placeholder 3">
            <a:extLst>
              <a:ext uri="{FF2B5EF4-FFF2-40B4-BE49-F238E27FC236}">
                <a16:creationId xmlns:a16="http://schemas.microsoft.com/office/drawing/2014/main" id="{CDA8EC64-B53D-6044-1646-DDC518D794AC}"/>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702810448"/>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AA5FD98-5292-2367-63BF-BB583BFC2A96}"/>
              </a:ext>
            </a:extLst>
          </p:cNvPr>
          <p:cNvSpPr>
            <a:spLocks noGrp="1"/>
          </p:cNvSpPr>
          <p:nvPr>
            <p:ph type="body" sz="quarter" idx="11"/>
          </p:nvPr>
        </p:nvSpPr>
        <p:spPr>
          <a:xfrm>
            <a:off x="584201" y="2370116"/>
            <a:ext cx="10480421" cy="2754192"/>
          </a:xfrm>
        </p:spPr>
        <p:txBody>
          <a:bodyPr/>
          <a:lstStyle/>
          <a:p>
            <a:r>
              <a:rPr lang="en-US" dirty="0">
                <a:solidFill>
                  <a:srgbClr val="FFFFFF"/>
                </a:solidFill>
                <a:cs typeface="Segoe UI"/>
              </a:rPr>
              <a:t>Marketplace procurement application integration and governance</a:t>
            </a:r>
            <a:endParaRPr lang="en-US" altLang="zh-CN" dirty="0">
              <a:solidFill>
                <a:srgbClr val="FFFFFF"/>
              </a:solidFill>
            </a:endParaRPr>
          </a:p>
        </p:txBody>
      </p:sp>
    </p:spTree>
    <p:extLst>
      <p:ext uri="{BB962C8B-B14F-4D97-AF65-F5344CB8AC3E}">
        <p14:creationId xmlns:p14="http://schemas.microsoft.com/office/powerpoint/2010/main" val="2251723249"/>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EA76A25-0FDA-3E13-F3C0-3A631542187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6" name="Object 5" hidden="1">
                        <a:extLst>
                          <a:ext uri="{FF2B5EF4-FFF2-40B4-BE49-F238E27FC236}">
                            <a16:creationId xmlns:a16="http://schemas.microsoft.com/office/drawing/2014/main" id="{3EA76A25-0FDA-3E13-F3C0-3A631542187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Single Corner Rounded 8">
            <a:extLst>
              <a:ext uri="{FF2B5EF4-FFF2-40B4-BE49-F238E27FC236}">
                <a16:creationId xmlns:a16="http://schemas.microsoft.com/office/drawing/2014/main" id="{6BDC4CFE-BCC4-DF0A-B73A-86DADF57C607}"/>
              </a:ext>
            </a:extLst>
          </p:cNvPr>
          <p:cNvSpPr/>
          <p:nvPr/>
        </p:nvSpPr>
        <p:spPr bwMode="auto">
          <a:xfrm flipH="1">
            <a:off x="8023122" y="292100"/>
            <a:ext cx="4168877" cy="6565900"/>
          </a:xfrm>
          <a:prstGeom prst="round1Rect">
            <a:avLst>
              <a:gd name="adj" fmla="val 5009"/>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2" name="Rectangle: Top Corners Rounded 1">
            <a:extLst>
              <a:ext uri="{FF2B5EF4-FFF2-40B4-BE49-F238E27FC236}">
                <a16:creationId xmlns:a16="http://schemas.microsoft.com/office/drawing/2014/main" id="{AD8A4A21-7957-6BF3-8AA5-D8826A66E7DA}"/>
              </a:ext>
            </a:extLst>
          </p:cNvPr>
          <p:cNvSpPr/>
          <p:nvPr/>
        </p:nvSpPr>
        <p:spPr bwMode="auto">
          <a:xfrm rot="5400000">
            <a:off x="-1485900" y="1552575"/>
            <a:ext cx="6858000" cy="3752850"/>
          </a:xfrm>
          <a:prstGeom prst="round2SameRect">
            <a:avLst>
              <a:gd name="adj1" fmla="val 6555"/>
              <a:gd name="adj2" fmla="val 0"/>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3" name="Picture 2" descr="Background pattern&#10;&#10;Description automatically generated">
            <a:extLst>
              <a:ext uri="{FF2B5EF4-FFF2-40B4-BE49-F238E27FC236}">
                <a16:creationId xmlns:a16="http://schemas.microsoft.com/office/drawing/2014/main" id="{40AAB784-6E2F-E05F-E3E5-3BCC3C4EF7D7}"/>
              </a:ext>
            </a:extLst>
          </p:cNvPr>
          <p:cNvPicPr>
            <a:picLocks noChangeAspect="1"/>
          </p:cNvPicPr>
          <p:nvPr/>
        </p:nvPicPr>
        <p:blipFill rotWithShape="1">
          <a:blip r:embed="rId7"/>
          <a:srcRect l="34609" r="34609"/>
          <a:stretch/>
        </p:blipFill>
        <p:spPr>
          <a:xfrm>
            <a:off x="0" y="1"/>
            <a:ext cx="3752850" cy="6857999"/>
          </a:xfrm>
          <a:custGeom>
            <a:avLst/>
            <a:gdLst>
              <a:gd name="connsiteX0" fmla="*/ 0 w 3752850"/>
              <a:gd name="connsiteY0" fmla="*/ 0 h 6857999"/>
              <a:gd name="connsiteX1" fmla="*/ 3506851 w 3752850"/>
              <a:gd name="connsiteY1" fmla="*/ 0 h 6857999"/>
              <a:gd name="connsiteX2" fmla="*/ 3752850 w 3752850"/>
              <a:gd name="connsiteY2" fmla="*/ 245999 h 6857999"/>
              <a:gd name="connsiteX3" fmla="*/ 3752850 w 3752850"/>
              <a:gd name="connsiteY3" fmla="*/ 6612001 h 6857999"/>
              <a:gd name="connsiteX4" fmla="*/ 3556429 w 3752850"/>
              <a:gd name="connsiteY4" fmla="*/ 6853002 h 6857999"/>
              <a:gd name="connsiteX5" fmla="*/ 3506861 w 3752850"/>
              <a:gd name="connsiteY5" fmla="*/ 6857999 h 6857999"/>
              <a:gd name="connsiteX6" fmla="*/ 0 w 3752850"/>
              <a:gd name="connsiteY6"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52850" h="6857999">
                <a:moveTo>
                  <a:pt x="0" y="0"/>
                </a:moveTo>
                <a:lnTo>
                  <a:pt x="3506851" y="0"/>
                </a:lnTo>
                <a:cubicBezTo>
                  <a:pt x="3642712" y="0"/>
                  <a:pt x="3752850" y="110138"/>
                  <a:pt x="3752850" y="245999"/>
                </a:cubicBezTo>
                <a:lnTo>
                  <a:pt x="3752850" y="6612001"/>
                </a:lnTo>
                <a:cubicBezTo>
                  <a:pt x="3752850" y="6730880"/>
                  <a:pt x="3668526" y="6830064"/>
                  <a:pt x="3556429" y="6853002"/>
                </a:cubicBezTo>
                <a:lnTo>
                  <a:pt x="3506861" y="6857999"/>
                </a:lnTo>
                <a:lnTo>
                  <a:pt x="0" y="6857999"/>
                </a:lnTo>
                <a:close/>
              </a:path>
            </a:pathLst>
          </a:custGeom>
        </p:spPr>
      </p:pic>
      <p:sp>
        <p:nvSpPr>
          <p:cNvPr id="7" name="Title 3" descr="PRE-CALL: Agenda. Coach and Team Lead​ pre-workshop call ">
            <a:extLst>
              <a:ext uri="{FF2B5EF4-FFF2-40B4-BE49-F238E27FC236}">
                <a16:creationId xmlns:a16="http://schemas.microsoft.com/office/drawing/2014/main" id="{7BF5FCCE-F384-EED5-6A36-45F100E181C8}"/>
              </a:ext>
            </a:extLst>
          </p:cNvPr>
          <p:cNvSpPr txBox="1">
            <a:spLocks/>
          </p:cNvSpPr>
          <p:nvPr/>
        </p:nvSpPr>
        <p:spPr>
          <a:xfrm>
            <a:off x="588263" y="2895600"/>
            <a:ext cx="2167637" cy="553998"/>
          </a:xfrm>
          <a:prstGeom prst="rect">
            <a:avLst/>
          </a:prstGeom>
        </p:spPr>
        <p:txBody>
          <a:bodyPr/>
          <a:lstStyle>
            <a:lvl1pPr algn="l" defTabSz="932742" rtl="0" eaLnBrk="1" latinLnBrk="0" hangingPunct="1">
              <a:lnSpc>
                <a:spcPct val="100000"/>
              </a:lnSpc>
              <a:spcBef>
                <a:spcPct val="0"/>
              </a:spcBef>
              <a:buNone/>
              <a:defRPr lang="en-US" sz="3600" b="1" kern="1200" cap="none" spc="-50" baseline="0" dirty="0" smtClean="0">
                <a:ln w="3175">
                  <a:noFill/>
                </a:ln>
                <a:solidFill>
                  <a:schemeClr val="tx1"/>
                </a:solidFill>
                <a:effectLst/>
                <a:latin typeface="+mn-lt"/>
                <a:ea typeface="+mn-ea"/>
                <a:cs typeface="Segoe UI" pitchFamily="34" charset="0"/>
              </a:defRPr>
            </a:lvl1pPr>
          </a:lstStyle>
          <a:p>
            <a:r>
              <a:rPr lang="en-IN">
                <a:solidFill>
                  <a:schemeClr val="bg1"/>
                </a:solidFill>
              </a:rPr>
              <a:t>Agenda</a:t>
            </a:r>
          </a:p>
        </p:txBody>
      </p:sp>
      <p:graphicFrame>
        <p:nvGraphicFramePr>
          <p:cNvPr id="8" name="Table 7">
            <a:extLst>
              <a:ext uri="{FF2B5EF4-FFF2-40B4-BE49-F238E27FC236}">
                <a16:creationId xmlns:a16="http://schemas.microsoft.com/office/drawing/2014/main" id="{CC919F4A-A7D9-8DDD-DB16-BF7FF8DD9E3B}"/>
              </a:ext>
            </a:extLst>
          </p:cNvPr>
          <p:cNvGraphicFramePr>
            <a:graphicFrameLocks noGrp="1"/>
          </p:cNvGraphicFramePr>
          <p:nvPr>
            <p:extLst>
              <p:ext uri="{D42A27DB-BD31-4B8C-83A1-F6EECF244321}">
                <p14:modId xmlns:p14="http://schemas.microsoft.com/office/powerpoint/2010/main" val="1946829349"/>
              </p:ext>
            </p:extLst>
          </p:nvPr>
        </p:nvGraphicFramePr>
        <p:xfrm>
          <a:off x="4027715" y="143005"/>
          <a:ext cx="8097611" cy="3913632"/>
        </p:xfrm>
        <a:graphic>
          <a:graphicData uri="http://schemas.openxmlformats.org/drawingml/2006/table">
            <a:tbl>
              <a:tblPr/>
              <a:tblGrid>
                <a:gridCol w="1977374">
                  <a:extLst>
                    <a:ext uri="{9D8B030D-6E8A-4147-A177-3AD203B41FA5}">
                      <a16:colId xmlns:a16="http://schemas.microsoft.com/office/drawing/2014/main" val="1070106141"/>
                    </a:ext>
                  </a:extLst>
                </a:gridCol>
                <a:gridCol w="2288438">
                  <a:extLst>
                    <a:ext uri="{9D8B030D-6E8A-4147-A177-3AD203B41FA5}">
                      <a16:colId xmlns:a16="http://schemas.microsoft.com/office/drawing/2014/main" val="1928585651"/>
                    </a:ext>
                  </a:extLst>
                </a:gridCol>
                <a:gridCol w="3831799">
                  <a:extLst>
                    <a:ext uri="{9D8B030D-6E8A-4147-A177-3AD203B41FA5}">
                      <a16:colId xmlns:a16="http://schemas.microsoft.com/office/drawing/2014/main" val="4174341124"/>
                    </a:ext>
                  </a:extLst>
                </a:gridCol>
              </a:tblGrid>
              <a:tr h="0">
                <a:tc>
                  <a:txBody>
                    <a:bodyPr/>
                    <a:lstStyle/>
                    <a:p>
                      <a:pPr algn="l" fontAlgn="b"/>
                      <a:r>
                        <a:rPr lang="en-US" b="1">
                          <a:solidFill>
                            <a:schemeClr val="bg1"/>
                          </a:solidFill>
                          <a:latin typeface="+mn-lt"/>
                        </a:rPr>
                        <a:t>4-Hour Workshop</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lvl="0" algn="l">
                        <a:buNone/>
                      </a:pPr>
                      <a:endParaRPr lang="en-US" sz="1800" b="1" kern="1200">
                        <a:solidFill>
                          <a:schemeClr val="tx1"/>
                        </a:solidFill>
                        <a:highlight>
                          <a:srgbClr val="FFFF00"/>
                        </a:highlight>
                        <a:latin typeface="+mn-lt"/>
                        <a:ea typeface="+mn-ea"/>
                        <a:cs typeface="+mn-cs"/>
                      </a:endParaRP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fontAlgn="b"/>
                      <a:endParaRPr lang="en-US" b="1">
                        <a:solidFill>
                          <a:schemeClr val="bg1"/>
                        </a:solidFill>
                        <a:latin typeface="+mn-lt"/>
                      </a:endParaRPr>
                    </a:p>
                  </a:txBody>
                  <a:tcPr marL="45720"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659085"/>
                  </a:ext>
                </a:extLst>
              </a:tr>
              <a:tr h="0">
                <a:tc>
                  <a:txBody>
                    <a:bodyPr/>
                    <a:lstStyle/>
                    <a:p>
                      <a:pPr algn="l" fontAlgn="b"/>
                      <a:r>
                        <a:rPr lang="en-US" sz="1600" b="1">
                          <a:solidFill>
                            <a:schemeClr val="tx1"/>
                          </a:solidFill>
                        </a:rPr>
                        <a:t>9:00</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a:solidFill>
                            <a:schemeClr val="tx1"/>
                          </a:solidFill>
                        </a:rPr>
                        <a:t>10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a:solidFill>
                            <a:schemeClr val="tx2"/>
                          </a:solidFill>
                        </a:rPr>
                        <a:t>Kick-off and overview</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38856655"/>
                  </a:ext>
                </a:extLst>
              </a:tr>
              <a:tr h="0">
                <a:tc>
                  <a:txBody>
                    <a:bodyPr/>
                    <a:lstStyle/>
                    <a:p>
                      <a:pPr algn="l" fontAlgn="b"/>
                      <a:r>
                        <a:rPr lang="en-US" sz="1600" b="1">
                          <a:solidFill>
                            <a:schemeClr val="tx1"/>
                          </a:solidFill>
                        </a:rPr>
                        <a:t>9:10</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a:solidFill>
                            <a:schemeClr val="tx1"/>
                          </a:solidFill>
                        </a:rPr>
                        <a:t>50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lgn="l">
                        <a:buNone/>
                      </a:pPr>
                      <a:r>
                        <a:rPr lang="en-US" sz="1600" dirty="0">
                          <a:solidFill>
                            <a:schemeClr val="tx2"/>
                          </a:solidFill>
                        </a:rPr>
                        <a:t>What is Microsoft Commercial Marketplace</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02513156"/>
                  </a:ext>
                </a:extLst>
              </a:tr>
              <a:tr h="0">
                <a:tc>
                  <a:txBody>
                    <a:bodyPr/>
                    <a:lstStyle/>
                    <a:p>
                      <a:pPr lvl="0" algn="l">
                        <a:buNone/>
                      </a:pPr>
                      <a:r>
                        <a:rPr lang="en-US" sz="1600" b="1">
                          <a:solidFill>
                            <a:schemeClr val="tx1"/>
                          </a:solidFill>
                        </a:rPr>
                        <a:t>10:00</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a:solidFill>
                            <a:schemeClr val="tx1"/>
                          </a:solidFill>
                        </a:rPr>
                        <a:t>55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dirty="0">
                          <a:solidFill>
                            <a:schemeClr val="tx2"/>
                          </a:solidFill>
                        </a:rPr>
                        <a:t>Purchasing in Marketplace </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49297845"/>
                  </a:ext>
                </a:extLst>
              </a:tr>
              <a:tr h="0">
                <a:tc>
                  <a:txBody>
                    <a:bodyPr/>
                    <a:lstStyle/>
                    <a:p>
                      <a:pPr algn="l" fontAlgn="b"/>
                      <a:r>
                        <a:rPr lang="en-US" sz="1600" b="1">
                          <a:solidFill>
                            <a:schemeClr val="tx1"/>
                          </a:solidFill>
                        </a:rPr>
                        <a:t>10:55</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a:solidFill>
                            <a:schemeClr val="tx1"/>
                          </a:solidFill>
                        </a:rPr>
                        <a:t>10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lgn="l">
                        <a:buNone/>
                      </a:pPr>
                      <a:r>
                        <a:rPr lang="en-US" sz="1600" b="0" i="0" u="none" strike="noStrike" noProof="0">
                          <a:solidFill>
                            <a:schemeClr val="tx2"/>
                          </a:solidFill>
                          <a:latin typeface="Segoe UI"/>
                        </a:rPr>
                        <a:t>Break</a:t>
                      </a:r>
                      <a:endParaRPr lang="en-US" sz="1600">
                        <a:solidFill>
                          <a:schemeClr val="tx2"/>
                        </a:solidFill>
                      </a:endParaRP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27470862"/>
                  </a:ext>
                </a:extLst>
              </a:tr>
              <a:tr h="0">
                <a:tc>
                  <a:txBody>
                    <a:bodyPr/>
                    <a:lstStyle/>
                    <a:p>
                      <a:pPr algn="l" fontAlgn="b"/>
                      <a:r>
                        <a:rPr lang="en-US" sz="1600" b="1">
                          <a:solidFill>
                            <a:schemeClr val="tx1"/>
                          </a:solidFill>
                        </a:rPr>
                        <a:t>11:05</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a:solidFill>
                            <a:schemeClr val="tx1"/>
                          </a:solidFill>
                        </a:rPr>
                        <a:t>50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lgn="l">
                        <a:lnSpc>
                          <a:spcPct val="100000"/>
                        </a:lnSpc>
                        <a:spcBef>
                          <a:spcPts val="0"/>
                        </a:spcBef>
                        <a:spcAft>
                          <a:spcPts val="0"/>
                        </a:spcAft>
                        <a:buNone/>
                      </a:pPr>
                      <a:r>
                        <a:rPr lang="en-US" sz="1600" b="0" i="0" u="none" strike="noStrike" noProof="0" dirty="0">
                          <a:solidFill>
                            <a:schemeClr val="tx2"/>
                          </a:solidFill>
                          <a:latin typeface="Segoe UI"/>
                        </a:rPr>
                        <a:t>Integrating Marketplace with Procurement Systems</a:t>
                      </a:r>
                      <a:endParaRPr lang="en-US" sz="1600" b="0" i="0" u="none" strike="noStrike" noProof="0" dirty="0">
                        <a:solidFill>
                          <a:srgbClr val="E6E6E6"/>
                        </a:solidFill>
                        <a:latin typeface="Segoe UI"/>
                      </a:endParaRP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97876423"/>
                  </a:ext>
                </a:extLst>
              </a:tr>
              <a:tr h="0">
                <a:tc>
                  <a:txBody>
                    <a:bodyPr/>
                    <a:lstStyle/>
                    <a:p>
                      <a:pPr algn="l" fontAlgn="b"/>
                      <a:r>
                        <a:rPr lang="en-US" sz="1600" b="1">
                          <a:solidFill>
                            <a:schemeClr val="tx1"/>
                          </a:solidFill>
                        </a:rPr>
                        <a:t>11:55</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a:solidFill>
                            <a:schemeClr val="tx1"/>
                          </a:solidFill>
                        </a:rPr>
                        <a:t>55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lgn="l">
                        <a:lnSpc>
                          <a:spcPct val="100000"/>
                        </a:lnSpc>
                        <a:spcBef>
                          <a:spcPts val="0"/>
                        </a:spcBef>
                        <a:spcAft>
                          <a:spcPts val="0"/>
                        </a:spcAft>
                        <a:buNone/>
                      </a:pPr>
                      <a:r>
                        <a:rPr lang="en-US" sz="1600" b="0" i="0" u="none" strike="noStrike" noProof="0" dirty="0">
                          <a:solidFill>
                            <a:schemeClr val="tx2"/>
                          </a:solidFill>
                          <a:latin typeface="Segoe UI"/>
                        </a:rPr>
                        <a:t>Setting up a Private Marketplace</a:t>
                      </a:r>
                      <a:endParaRPr lang="en-US" sz="1600" b="0" i="0" u="none" strike="noStrike" noProof="0" dirty="0">
                        <a:solidFill>
                          <a:srgbClr val="E6E6E6"/>
                        </a:solidFill>
                        <a:latin typeface="Segoe UI"/>
                      </a:endParaRP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13727797"/>
                  </a:ext>
                </a:extLst>
              </a:tr>
              <a:tr h="0">
                <a:tc>
                  <a:txBody>
                    <a:bodyPr/>
                    <a:lstStyle/>
                    <a:p>
                      <a:pPr lvl="0" algn="l">
                        <a:buNone/>
                      </a:pPr>
                      <a:r>
                        <a:rPr lang="en-US" sz="1600" b="1">
                          <a:solidFill>
                            <a:schemeClr val="tx1"/>
                          </a:solidFill>
                        </a:rPr>
                        <a:t>12:50</a:t>
                      </a:r>
                    </a:p>
                  </a:txBody>
                  <a:tcPr marR="45720" marT="73152" marB="73152" anchor="ctr">
                    <a:lnL w="0">
                      <a:noFill/>
                    </a:lnL>
                    <a:lnR w="0">
                      <a:noFill/>
                    </a:lnR>
                    <a:lnT w="3175" cap="flat" cmpd="sng" algn="ctr">
                      <a:solidFill>
                        <a:schemeClr val="bg1">
                          <a:lumMod val="75000"/>
                        </a:schemeClr>
                      </a:solidFill>
                      <a:prstDash val="solid"/>
                      <a:round/>
                      <a:headEnd type="none" w="med" len="med"/>
                      <a:tailEnd type="none" w="med" len="med"/>
                    </a:lnT>
                    <a:lnB w="0">
                      <a:noFill/>
                    </a:lnB>
                    <a:lnTlToBr w="0">
                      <a:noFill/>
                    </a:lnTlToBr>
                    <a:lnBlToTr w="0">
                      <a:noFill/>
                    </a:lnBlToTr>
                  </a:tcPr>
                </a:tc>
                <a:tc>
                  <a:txBody>
                    <a:bodyPr/>
                    <a:lstStyle/>
                    <a:p>
                      <a:pPr lvl="0" algn="l">
                        <a:buNone/>
                      </a:pPr>
                      <a:r>
                        <a:rPr lang="en-US" sz="1600">
                          <a:solidFill>
                            <a:schemeClr val="tx1"/>
                          </a:solidFill>
                        </a:rPr>
                        <a:t>10 minutes</a:t>
                      </a:r>
                    </a:p>
                  </a:txBody>
                  <a:tcPr marR="45720" marT="73152" marB="73152" anchor="ctr">
                    <a:lnL w="0">
                      <a:noFill/>
                    </a:lnL>
                    <a:lnR w="0">
                      <a:noFill/>
                    </a:lnR>
                    <a:lnT w="3175" cap="flat" cmpd="sng" algn="ctr">
                      <a:solidFill>
                        <a:schemeClr val="bg1">
                          <a:lumMod val="75000"/>
                        </a:schemeClr>
                      </a:solidFill>
                      <a:prstDash val="solid"/>
                      <a:round/>
                      <a:headEnd type="none" w="med" len="med"/>
                      <a:tailEnd type="none" w="med" len="med"/>
                    </a:lnT>
                    <a:lnB w="0">
                      <a:noFill/>
                    </a:lnB>
                    <a:lnTlToBr w="0">
                      <a:noFill/>
                    </a:lnTlToBr>
                    <a:lnBlToTr w="0">
                      <a:noFill/>
                    </a:lnBlToTr>
                  </a:tcPr>
                </a:tc>
                <a:tc>
                  <a:txBody>
                    <a:bodyPr/>
                    <a:lstStyle/>
                    <a:p>
                      <a:pPr lvl="0" algn="l">
                        <a:lnSpc>
                          <a:spcPct val="100000"/>
                        </a:lnSpc>
                        <a:spcBef>
                          <a:spcPts val="0"/>
                        </a:spcBef>
                        <a:spcAft>
                          <a:spcPts val="0"/>
                        </a:spcAft>
                        <a:buNone/>
                      </a:pPr>
                      <a:r>
                        <a:rPr lang="en-US" sz="1600" b="0" i="0" u="none" strike="noStrike" noProof="0" dirty="0">
                          <a:solidFill>
                            <a:schemeClr val="tx2"/>
                          </a:solidFill>
                          <a:latin typeface="Segoe UI"/>
                        </a:rPr>
                        <a:t>Wrap-up</a:t>
                      </a:r>
                    </a:p>
                  </a:txBody>
                  <a:tcPr marR="45720" marT="73152" marB="73152" anchor="ctr">
                    <a:lnL w="0">
                      <a:noFill/>
                    </a:lnL>
                    <a:lnR w="0">
                      <a:noFill/>
                    </a:lnR>
                    <a:lnT w="3175" cap="flat" cmpd="sng" algn="ctr">
                      <a:solidFill>
                        <a:schemeClr val="tx2"/>
                      </a:solidFill>
                      <a:prstDash val="lgDash"/>
                      <a:round/>
                      <a:headEnd type="none" w="med" len="med"/>
                      <a:tailEnd type="none" w="med" len="med"/>
                    </a:lnT>
                    <a:lnB w="0">
                      <a:noFill/>
                    </a:lnB>
                    <a:lnTlToBr w="0">
                      <a:noFill/>
                    </a:lnTlToBr>
                    <a:lnBlToTr w="0">
                      <a:noFill/>
                    </a:lnBlToTr>
                  </a:tcPr>
                </a:tc>
                <a:extLst>
                  <a:ext uri="{0D108BD9-81ED-4DB2-BD59-A6C34878D82A}">
                    <a16:rowId xmlns:a16="http://schemas.microsoft.com/office/drawing/2014/main" val="2797775683"/>
                  </a:ext>
                </a:extLst>
              </a:tr>
            </a:tbl>
          </a:graphicData>
        </a:graphic>
      </p:graphicFrame>
    </p:spTree>
    <p:custDataLst>
      <p:tags r:id="rId1"/>
    </p:custDataLst>
    <p:extLst>
      <p:ext uri="{BB962C8B-B14F-4D97-AF65-F5344CB8AC3E}">
        <p14:creationId xmlns:p14="http://schemas.microsoft.com/office/powerpoint/2010/main" val="3682517411"/>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p:txBody>
          <a:bodyPr/>
          <a:lstStyle/>
          <a:p>
            <a:r>
              <a:rPr lang="en-US"/>
              <a:t>Introduction</a:t>
            </a:r>
          </a:p>
        </p:txBody>
      </p:sp>
      <p:grpSp>
        <p:nvGrpSpPr>
          <p:cNvPr id="47" name="Group 46">
            <a:extLst>
              <a:ext uri="{FF2B5EF4-FFF2-40B4-BE49-F238E27FC236}">
                <a16:creationId xmlns:a16="http://schemas.microsoft.com/office/drawing/2014/main" id="{0A7FDF06-EFFB-19CD-08CC-02A34A1A0A12}"/>
              </a:ext>
            </a:extLst>
          </p:cNvPr>
          <p:cNvGrpSpPr/>
          <p:nvPr/>
        </p:nvGrpSpPr>
        <p:grpSpPr>
          <a:xfrm>
            <a:off x="10887529" y="290989"/>
            <a:ext cx="1304471" cy="582454"/>
            <a:chOff x="10887529" y="246221"/>
            <a:chExt cx="1304471" cy="582454"/>
          </a:xfrm>
        </p:grpSpPr>
        <p:sp>
          <p:nvSpPr>
            <p:cNvPr id="46" name="Freeform: Shape 45">
              <a:extLst>
                <a:ext uri="{FF2B5EF4-FFF2-40B4-BE49-F238E27FC236}">
                  <a16:creationId xmlns:a16="http://schemas.microsoft.com/office/drawing/2014/main" id="{F0BE8041-3CCE-3F0F-2E63-F732A3C40FA0}"/>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nvGrpSpPr>
            <p:cNvPr id="44" name="Group 43">
              <a:extLst>
                <a:ext uri="{FF2B5EF4-FFF2-40B4-BE49-F238E27FC236}">
                  <a16:creationId xmlns:a16="http://schemas.microsoft.com/office/drawing/2014/main" id="{ADA7C369-C07F-7836-347C-371887117C89}"/>
                </a:ext>
              </a:extLst>
            </p:cNvPr>
            <p:cNvGrpSpPr/>
            <p:nvPr/>
          </p:nvGrpSpPr>
          <p:grpSpPr>
            <a:xfrm>
              <a:off x="10973730" y="344238"/>
              <a:ext cx="386420" cy="386420"/>
              <a:chOff x="10338730" y="326866"/>
              <a:chExt cx="753110" cy="753110"/>
            </a:xfrm>
          </p:grpSpPr>
          <p:sp>
            <p:nvSpPr>
              <p:cNvPr id="7" name="Oval 6">
                <a:extLst>
                  <a:ext uri="{FF2B5EF4-FFF2-40B4-BE49-F238E27FC236}">
                    <a16:creationId xmlns:a16="http://schemas.microsoft.com/office/drawing/2014/main" id="{9E6481FD-3B54-4776-3820-44A780A43363}"/>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8" name="Graphic 160">
                <a:extLst>
                  <a:ext uri="{FF2B5EF4-FFF2-40B4-BE49-F238E27FC236}">
                    <a16:creationId xmlns:a16="http://schemas.microsoft.com/office/drawing/2014/main" id="{4F9CB3E7-A242-E97B-4AB7-66E3E5CD9892}"/>
                  </a:ext>
                </a:extLst>
              </p:cNvPr>
              <p:cNvGrpSpPr/>
              <p:nvPr/>
            </p:nvGrpSpPr>
            <p:grpSpPr>
              <a:xfrm>
                <a:off x="10537246" y="449420"/>
                <a:ext cx="356078" cy="508002"/>
                <a:chOff x="7053892" y="4608173"/>
                <a:chExt cx="402719" cy="574549"/>
              </a:xfrm>
              <a:noFill/>
            </p:grpSpPr>
            <p:sp>
              <p:nvSpPr>
                <p:cNvPr id="10" name="Freeform: Shape 9">
                  <a:extLst>
                    <a:ext uri="{FF2B5EF4-FFF2-40B4-BE49-F238E27FC236}">
                      <a16:creationId xmlns:a16="http://schemas.microsoft.com/office/drawing/2014/main" id="{29819F1B-3C24-8486-5FAF-FA2FB944A82D}"/>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Freeform: Shape 10">
                  <a:extLst>
                    <a:ext uri="{FF2B5EF4-FFF2-40B4-BE49-F238E27FC236}">
                      <a16:creationId xmlns:a16="http://schemas.microsoft.com/office/drawing/2014/main" id="{E02D17B9-1B19-2B34-B172-64898DF0A14F}"/>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Freeform: Shape 11">
                  <a:extLst>
                    <a:ext uri="{FF2B5EF4-FFF2-40B4-BE49-F238E27FC236}">
                      <a16:creationId xmlns:a16="http://schemas.microsoft.com/office/drawing/2014/main" id="{4076AE6B-F640-0C98-DD66-A86DF72017E7}"/>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Freeform: Shape 12">
                  <a:extLst>
                    <a:ext uri="{FF2B5EF4-FFF2-40B4-BE49-F238E27FC236}">
                      <a16:creationId xmlns:a16="http://schemas.microsoft.com/office/drawing/2014/main" id="{A3AF4CCF-6A62-29B6-78C7-1883CDEE8789}"/>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Freeform: Shape 13">
                  <a:extLst>
                    <a:ext uri="{FF2B5EF4-FFF2-40B4-BE49-F238E27FC236}">
                      <a16:creationId xmlns:a16="http://schemas.microsoft.com/office/drawing/2014/main" id="{8C61D727-DE3B-B1A3-A452-6E0FE3322DA4}"/>
                    </a:ext>
                  </a:extLst>
                </p:cNvPr>
                <p:cNvSpPr/>
                <p:nvPr/>
              </p:nvSpPr>
              <p:spPr>
                <a:xfrm>
                  <a:off x="7156858" y="4890018"/>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Freeform: Shape 14">
                  <a:extLst>
                    <a:ext uri="{FF2B5EF4-FFF2-40B4-BE49-F238E27FC236}">
                      <a16:creationId xmlns:a16="http://schemas.microsoft.com/office/drawing/2014/main" id="{B225B4AC-F59D-D1F2-F2C0-F47701BF0CE7}"/>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Freeform: Shape 15">
                  <a:extLst>
                    <a:ext uri="{FF2B5EF4-FFF2-40B4-BE49-F238E27FC236}">
                      <a16:creationId xmlns:a16="http://schemas.microsoft.com/office/drawing/2014/main" id="{1DDF50A4-46DC-0AB3-DBA2-098B3038D85B}"/>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Freeform: Shape 16">
                  <a:extLst>
                    <a:ext uri="{FF2B5EF4-FFF2-40B4-BE49-F238E27FC236}">
                      <a16:creationId xmlns:a16="http://schemas.microsoft.com/office/drawing/2014/main" id="{A8E1DCC1-B2D4-7B98-B800-068F293A58CD}"/>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18" name="Graphic 160">
                  <a:extLst>
                    <a:ext uri="{FF2B5EF4-FFF2-40B4-BE49-F238E27FC236}">
                      <a16:creationId xmlns:a16="http://schemas.microsoft.com/office/drawing/2014/main" id="{73CE5EA2-8E9C-A70A-3C54-0189A91D5D33}"/>
                    </a:ext>
                  </a:extLst>
                </p:cNvPr>
                <p:cNvGrpSpPr/>
                <p:nvPr/>
              </p:nvGrpSpPr>
              <p:grpSpPr>
                <a:xfrm>
                  <a:off x="7258849" y="4914595"/>
                  <a:ext cx="197762" cy="268127"/>
                  <a:chOff x="7258849" y="4914595"/>
                  <a:chExt cx="197762" cy="268127"/>
                </a:xfrm>
                <a:noFill/>
              </p:grpSpPr>
              <p:sp>
                <p:nvSpPr>
                  <p:cNvPr id="19" name="Freeform: Shape 18">
                    <a:extLst>
                      <a:ext uri="{FF2B5EF4-FFF2-40B4-BE49-F238E27FC236}">
                        <a16:creationId xmlns:a16="http://schemas.microsoft.com/office/drawing/2014/main" id="{A5B07CD7-E583-5E7F-5F47-6D4BF3E20E7A}"/>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Freeform: Shape 19">
                    <a:extLst>
                      <a:ext uri="{FF2B5EF4-FFF2-40B4-BE49-F238E27FC236}">
                        <a16:creationId xmlns:a16="http://schemas.microsoft.com/office/drawing/2014/main" id="{7CF9742E-30CA-8F18-035C-7F8E67318434}"/>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grpSp>
      <p:sp>
        <p:nvSpPr>
          <p:cNvPr id="21" name="TextBox 20">
            <a:extLst>
              <a:ext uri="{FF2B5EF4-FFF2-40B4-BE49-F238E27FC236}">
                <a16:creationId xmlns:a16="http://schemas.microsoft.com/office/drawing/2014/main" id="{68C8CFE1-65AB-E14A-D550-F9CC1A93CFC5}"/>
              </a:ext>
            </a:extLst>
          </p:cNvPr>
          <p:cNvSpPr txBox="1"/>
          <p:nvPr/>
        </p:nvSpPr>
        <p:spPr>
          <a:xfrm>
            <a:off x="598714" y="1189100"/>
            <a:ext cx="11008068" cy="553998"/>
          </a:xfrm>
          <a:prstGeom prst="rect">
            <a:avLst/>
          </a:prstGeom>
          <a:noFill/>
        </p:spPr>
        <p:txBody>
          <a:bodyPr wrap="square" lIns="0" tIns="0" rIns="0" bIns="0" anchor="ctr">
            <a:spAutoFit/>
          </a:bodyPr>
          <a:lstStyle/>
          <a:p>
            <a:pPr defTabSz="914367">
              <a:spcAft>
                <a:spcPts val="600"/>
              </a:spcAft>
              <a:defRPr/>
            </a:pPr>
            <a:r>
              <a:rPr lang="en-US" dirty="0"/>
              <a:t>In this module, you’ll begin by learning how to connect procurement applications to Marketplace.  You will also create a private Marketplace and setup purchasing permissions.</a:t>
            </a:r>
          </a:p>
        </p:txBody>
      </p:sp>
      <p:sp>
        <p:nvSpPr>
          <p:cNvPr id="22" name="Rectangle: Top Corners Rounded 21">
            <a:extLst>
              <a:ext uri="{FF2B5EF4-FFF2-40B4-BE49-F238E27FC236}">
                <a16:creationId xmlns:a16="http://schemas.microsoft.com/office/drawing/2014/main" id="{DCB2C171-D2C3-8EA9-8D15-F13D5156428F}"/>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23" name="TextBox 22">
            <a:extLst>
              <a:ext uri="{FF2B5EF4-FFF2-40B4-BE49-F238E27FC236}">
                <a16:creationId xmlns:a16="http://schemas.microsoft.com/office/drawing/2014/main" id="{9DA05131-6770-3582-BD7D-A41220780897}"/>
              </a:ext>
            </a:extLst>
          </p:cNvPr>
          <p:cNvSpPr txBox="1"/>
          <p:nvPr/>
        </p:nvSpPr>
        <p:spPr>
          <a:xfrm>
            <a:off x="598714" y="1979804"/>
            <a:ext cx="5992586" cy="246221"/>
          </a:xfrm>
          <a:prstGeom prst="rect">
            <a:avLst/>
          </a:prstGeom>
          <a:noFill/>
        </p:spPr>
        <p:txBody>
          <a:bodyPr wrap="square" lIns="0" tIns="0" rIns="0" bIns="0" anchor="ctr">
            <a:spAutoFit/>
          </a:bodyPr>
          <a:lstStyle/>
          <a:p>
            <a:pPr marL="0" marR="0" lvl="0" indent="0" algn="l" defTabSz="914367" rtl="0" eaLnBrk="1" fontAlgn="auto" latinLnBrk="0" hangingPunct="1">
              <a:spcBef>
                <a:spcPts val="0"/>
              </a:spcBef>
              <a:spcAft>
                <a:spcPts val="600"/>
              </a:spcAft>
              <a:buClrTx/>
              <a:buSzTx/>
              <a:buFontTx/>
              <a:buNone/>
              <a:tabLst/>
              <a:defRPr/>
            </a:pPr>
            <a:r>
              <a:rPr lang="en-US" sz="1600" b="1">
                <a:solidFill>
                  <a:schemeClr val="bg1"/>
                </a:solidFill>
              </a:rPr>
              <a:t>After completing this module, you’ll be able to:</a:t>
            </a:r>
            <a:endParaRPr lang="en-US" sz="1600" b="1">
              <a:solidFill>
                <a:schemeClr val="bg1"/>
              </a:solidFill>
              <a:cs typeface="Segoe UI"/>
            </a:endParaRPr>
          </a:p>
        </p:txBody>
      </p:sp>
      <p:grpSp>
        <p:nvGrpSpPr>
          <p:cNvPr id="24" name="Group 23">
            <a:extLst>
              <a:ext uri="{FF2B5EF4-FFF2-40B4-BE49-F238E27FC236}">
                <a16:creationId xmlns:a16="http://schemas.microsoft.com/office/drawing/2014/main" id="{78956D2B-0068-D1E7-1704-C9AFBA7F190A}"/>
              </a:ext>
            </a:extLst>
          </p:cNvPr>
          <p:cNvGrpSpPr/>
          <p:nvPr/>
        </p:nvGrpSpPr>
        <p:grpSpPr>
          <a:xfrm>
            <a:off x="591756" y="2527336"/>
            <a:ext cx="472258" cy="472258"/>
            <a:chOff x="591756" y="2678861"/>
            <a:chExt cx="472258" cy="472258"/>
          </a:xfrm>
        </p:grpSpPr>
        <p:sp>
          <p:nvSpPr>
            <p:cNvPr id="25" name="Freeform: Shape 11">
              <a:extLst>
                <a:ext uri="{FF2B5EF4-FFF2-40B4-BE49-F238E27FC236}">
                  <a16:creationId xmlns:a16="http://schemas.microsoft.com/office/drawing/2014/main" id="{A05D968C-C425-1322-8C6B-93DCD945E654}"/>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6" name="Oval 25">
              <a:extLst>
                <a:ext uri="{FF2B5EF4-FFF2-40B4-BE49-F238E27FC236}">
                  <a16:creationId xmlns:a16="http://schemas.microsoft.com/office/drawing/2014/main" id="{3BF49955-259C-90B2-1028-06AC4044A6F4}"/>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27" name="TextBox 26">
            <a:extLst>
              <a:ext uri="{FF2B5EF4-FFF2-40B4-BE49-F238E27FC236}">
                <a16:creationId xmlns:a16="http://schemas.microsoft.com/office/drawing/2014/main" id="{2110CA23-E319-B299-E485-6F98BFAFC1EC}"/>
              </a:ext>
            </a:extLst>
          </p:cNvPr>
          <p:cNvSpPr txBox="1"/>
          <p:nvPr/>
        </p:nvSpPr>
        <p:spPr>
          <a:xfrm>
            <a:off x="1223358" y="2609577"/>
            <a:ext cx="10319499" cy="307777"/>
          </a:xfrm>
          <a:prstGeom prst="rect">
            <a:avLst/>
          </a:prstGeom>
          <a:noFill/>
        </p:spPr>
        <p:txBody>
          <a:bodyPr wrap="square" lIns="0" tIns="45720" rIns="91440" bIns="45720" anchor="t">
            <a:spAutoFit/>
          </a:bodyPr>
          <a:lstStyle/>
          <a:p>
            <a:pPr marL="0" lvl="1" defTabSz="914367">
              <a:spcBef>
                <a:spcPts val="392"/>
              </a:spcBef>
              <a:spcAft>
                <a:spcPts val="588"/>
              </a:spcAft>
              <a:defRPr/>
            </a:pPr>
            <a:r>
              <a:rPr lang="en-US" sz="1400" dirty="0"/>
              <a:t>Connect </a:t>
            </a:r>
            <a:r>
              <a:rPr lang="en-US" sz="1400" dirty="0" err="1"/>
              <a:t>Entra</a:t>
            </a:r>
            <a:r>
              <a:rPr lang="en-US" sz="1400" dirty="0"/>
              <a:t> ID for SSO to Marketplace with Procurement Systems.</a:t>
            </a:r>
            <a:endParaRPr lang="en-US" dirty="0">
              <a:ea typeface="+mn-ea"/>
              <a:cs typeface="+mn-cs"/>
            </a:endParaRPr>
          </a:p>
        </p:txBody>
      </p:sp>
      <p:grpSp>
        <p:nvGrpSpPr>
          <p:cNvPr id="29" name="Group 28">
            <a:extLst>
              <a:ext uri="{FF2B5EF4-FFF2-40B4-BE49-F238E27FC236}">
                <a16:creationId xmlns:a16="http://schemas.microsoft.com/office/drawing/2014/main" id="{C3408F81-0293-46C4-DC12-DB67FC14B236}"/>
              </a:ext>
            </a:extLst>
          </p:cNvPr>
          <p:cNvGrpSpPr/>
          <p:nvPr/>
        </p:nvGrpSpPr>
        <p:grpSpPr>
          <a:xfrm>
            <a:off x="591756" y="3183079"/>
            <a:ext cx="472258" cy="472258"/>
            <a:chOff x="4863419" y="201635"/>
            <a:chExt cx="1828800" cy="1828800"/>
          </a:xfrm>
        </p:grpSpPr>
        <p:sp>
          <p:nvSpPr>
            <p:cNvPr id="30" name="Freeform: Shape 11">
              <a:extLst>
                <a:ext uri="{FF2B5EF4-FFF2-40B4-BE49-F238E27FC236}">
                  <a16:creationId xmlns:a16="http://schemas.microsoft.com/office/drawing/2014/main" id="{D24F269A-A5E5-DE3B-1F5A-7B050EF2D87C}"/>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7D5072F9-FA9A-8E51-49F6-91712DC534A6}"/>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28" name="TextBox 27">
            <a:extLst>
              <a:ext uri="{FF2B5EF4-FFF2-40B4-BE49-F238E27FC236}">
                <a16:creationId xmlns:a16="http://schemas.microsoft.com/office/drawing/2014/main" id="{0A250D4B-4C44-4636-CA86-49CB47665514}"/>
              </a:ext>
            </a:extLst>
          </p:cNvPr>
          <p:cNvSpPr txBox="1"/>
          <p:nvPr/>
        </p:nvSpPr>
        <p:spPr>
          <a:xfrm>
            <a:off x="1223358" y="3265320"/>
            <a:ext cx="10319499" cy="307777"/>
          </a:xfrm>
          <a:prstGeom prst="rect">
            <a:avLst/>
          </a:prstGeom>
          <a:noFill/>
        </p:spPr>
        <p:txBody>
          <a:bodyPr wrap="square" lIns="0" tIns="45720" rIns="91440" bIns="45720" anchor="t">
            <a:spAutoFit/>
          </a:bodyPr>
          <a:lstStyle/>
          <a:p>
            <a:pPr marL="0" lvl="1" defTabSz="914367">
              <a:spcBef>
                <a:spcPts val="392"/>
              </a:spcBef>
              <a:spcAft>
                <a:spcPts val="588"/>
              </a:spcAft>
              <a:defRPr/>
            </a:pPr>
            <a:r>
              <a:rPr lang="en-US" sz="1400" dirty="0"/>
              <a:t>Using </a:t>
            </a:r>
            <a:r>
              <a:rPr lang="en-US" sz="1400" dirty="0" err="1"/>
              <a:t>Entra</a:t>
            </a:r>
            <a:r>
              <a:rPr lang="en-US" sz="1400" dirty="0"/>
              <a:t> ID for authentication and authorization to Marketplace through Procurement Systems.</a:t>
            </a:r>
            <a:endParaRPr lang="en-US" dirty="0">
              <a:ea typeface="+mn-ea"/>
              <a:cs typeface="+mn-cs"/>
            </a:endParaRPr>
          </a:p>
        </p:txBody>
      </p:sp>
      <p:grpSp>
        <p:nvGrpSpPr>
          <p:cNvPr id="33" name="Group 32">
            <a:extLst>
              <a:ext uri="{FF2B5EF4-FFF2-40B4-BE49-F238E27FC236}">
                <a16:creationId xmlns:a16="http://schemas.microsoft.com/office/drawing/2014/main" id="{F339AB0E-EB41-47DC-3B95-58188D580D69}"/>
              </a:ext>
            </a:extLst>
          </p:cNvPr>
          <p:cNvGrpSpPr/>
          <p:nvPr/>
        </p:nvGrpSpPr>
        <p:grpSpPr>
          <a:xfrm>
            <a:off x="591756" y="3838822"/>
            <a:ext cx="472258" cy="472258"/>
            <a:chOff x="4863419" y="201635"/>
            <a:chExt cx="1828800" cy="1828800"/>
          </a:xfrm>
        </p:grpSpPr>
        <p:sp>
          <p:nvSpPr>
            <p:cNvPr id="34" name="Freeform: Shape 11">
              <a:extLst>
                <a:ext uri="{FF2B5EF4-FFF2-40B4-BE49-F238E27FC236}">
                  <a16:creationId xmlns:a16="http://schemas.microsoft.com/office/drawing/2014/main" id="{75263846-D3E9-8A0A-3EF8-E6C584B80412}"/>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5" name="Oval 34">
              <a:extLst>
                <a:ext uri="{FF2B5EF4-FFF2-40B4-BE49-F238E27FC236}">
                  <a16:creationId xmlns:a16="http://schemas.microsoft.com/office/drawing/2014/main" id="{DACFA3A3-A922-4E0F-9B27-D0071F628442}"/>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32" name="TextBox 31">
            <a:extLst>
              <a:ext uri="{FF2B5EF4-FFF2-40B4-BE49-F238E27FC236}">
                <a16:creationId xmlns:a16="http://schemas.microsoft.com/office/drawing/2014/main" id="{93C8FB2B-8EDA-992B-5C01-296093DB1125}"/>
              </a:ext>
            </a:extLst>
          </p:cNvPr>
          <p:cNvSpPr txBox="1"/>
          <p:nvPr/>
        </p:nvSpPr>
        <p:spPr>
          <a:xfrm>
            <a:off x="1223358" y="3921063"/>
            <a:ext cx="10319499" cy="307777"/>
          </a:xfrm>
          <a:prstGeom prst="rect">
            <a:avLst/>
          </a:prstGeom>
          <a:noFill/>
        </p:spPr>
        <p:txBody>
          <a:bodyPr wrap="square" lIns="0" tIns="45720" rIns="91440" bIns="45720" anchor="t">
            <a:spAutoFit/>
          </a:bodyPr>
          <a:lstStyle/>
          <a:p>
            <a:pPr marL="0" lvl="1" defTabSz="914367">
              <a:defRPr/>
            </a:pPr>
            <a:r>
              <a:rPr lang="en-US" sz="1400" dirty="0">
                <a:cs typeface="Segoe UI"/>
              </a:rPr>
              <a:t>Setting up a private Marketplace.</a:t>
            </a:r>
          </a:p>
        </p:txBody>
      </p:sp>
      <p:sp>
        <p:nvSpPr>
          <p:cNvPr id="56" name="TextBox 55">
            <a:extLst>
              <a:ext uri="{FF2B5EF4-FFF2-40B4-BE49-F238E27FC236}">
                <a16:creationId xmlns:a16="http://schemas.microsoft.com/office/drawing/2014/main" id="{87C697D9-D5F1-EBDD-81F9-D4CB7DC374D4}"/>
              </a:ext>
            </a:extLst>
          </p:cNvPr>
          <p:cNvSpPr txBox="1"/>
          <p:nvPr/>
        </p:nvSpPr>
        <p:spPr>
          <a:xfrm>
            <a:off x="1223358" y="4580533"/>
            <a:ext cx="10319499" cy="307777"/>
          </a:xfrm>
          <a:prstGeom prst="rect">
            <a:avLst/>
          </a:prstGeom>
          <a:noFill/>
        </p:spPr>
        <p:txBody>
          <a:bodyPr wrap="square" lIns="0" tIns="45720" rIns="91440" bIns="45720" anchor="t">
            <a:spAutoFit/>
          </a:bodyPr>
          <a:lstStyle/>
          <a:p>
            <a:pPr marL="0" lvl="1" defTabSz="914367">
              <a:defRPr/>
            </a:pPr>
            <a:r>
              <a:rPr lang="en-US" sz="1400"/>
              <a:t>Create purchasing permissions and resource limits</a:t>
            </a:r>
            <a:r>
              <a:rPr kumimoji="0" lang="en-US" sz="1400" b="0" i="0" u="none" strike="noStrike" kern="1200" cap="none" spc="0" normalizeH="0" baseline="0" noProof="0">
                <a:ln>
                  <a:noFill/>
                </a:ln>
                <a:effectLst/>
                <a:uLnTx/>
                <a:uFillTx/>
                <a:ea typeface="+mn-ea"/>
                <a:cs typeface="+mn-cs"/>
              </a:rPr>
              <a:t>.</a:t>
            </a:r>
            <a:endParaRPr lang="en-US" sz="1400"/>
          </a:p>
        </p:txBody>
      </p:sp>
      <p:grpSp>
        <p:nvGrpSpPr>
          <p:cNvPr id="57" name="Group 56">
            <a:extLst>
              <a:ext uri="{FF2B5EF4-FFF2-40B4-BE49-F238E27FC236}">
                <a16:creationId xmlns:a16="http://schemas.microsoft.com/office/drawing/2014/main" id="{22EDF683-B51C-3712-6AC1-59A383F3DB66}"/>
              </a:ext>
            </a:extLst>
          </p:cNvPr>
          <p:cNvGrpSpPr/>
          <p:nvPr/>
        </p:nvGrpSpPr>
        <p:grpSpPr>
          <a:xfrm>
            <a:off x="591756" y="4498292"/>
            <a:ext cx="472258" cy="472258"/>
            <a:chOff x="4863419" y="201635"/>
            <a:chExt cx="1828800" cy="1828800"/>
          </a:xfrm>
        </p:grpSpPr>
        <p:sp>
          <p:nvSpPr>
            <p:cNvPr id="58" name="Freeform: Shape 11">
              <a:extLst>
                <a:ext uri="{FF2B5EF4-FFF2-40B4-BE49-F238E27FC236}">
                  <a16:creationId xmlns:a16="http://schemas.microsoft.com/office/drawing/2014/main" id="{C60AB199-F85B-63E0-9EBC-6D434FDCF149}"/>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9" name="Oval 58">
              <a:extLst>
                <a:ext uri="{FF2B5EF4-FFF2-40B4-BE49-F238E27FC236}">
                  <a16:creationId xmlns:a16="http://schemas.microsoft.com/office/drawing/2014/main" id="{B4C12FDB-0402-A8A3-B64F-1A08ECE26749}"/>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2" name="UniversalApp_E8CC" title="Icon of a cellphone in front of a tablet">
            <a:extLst>
              <a:ext uri="{FF2B5EF4-FFF2-40B4-BE49-F238E27FC236}">
                <a16:creationId xmlns:a16="http://schemas.microsoft.com/office/drawing/2014/main" id="{3628213E-77F6-63A6-0888-F760135FBC9F}"/>
              </a:ext>
            </a:extLst>
          </p:cNvPr>
          <p:cNvSpPr>
            <a:spLocks noChangeAspect="1" noEditPoints="1"/>
          </p:cNvSpPr>
          <p:nvPr/>
        </p:nvSpPr>
        <p:spPr bwMode="auto">
          <a:xfrm>
            <a:off x="705651" y="2673768"/>
            <a:ext cx="244468" cy="179394"/>
          </a:xfrm>
          <a:custGeom>
            <a:avLst/>
            <a:gdLst>
              <a:gd name="T0" fmla="*/ 1250 w 3750"/>
              <a:gd name="T1" fmla="*/ 2750 h 2750"/>
              <a:gd name="T2" fmla="*/ 0 w 3750"/>
              <a:gd name="T3" fmla="*/ 2750 h 2750"/>
              <a:gd name="T4" fmla="*/ 0 w 3750"/>
              <a:gd name="T5" fmla="*/ 750 h 2750"/>
              <a:gd name="T6" fmla="*/ 1250 w 3750"/>
              <a:gd name="T7" fmla="*/ 750 h 2750"/>
              <a:gd name="T8" fmla="*/ 1250 w 3750"/>
              <a:gd name="T9" fmla="*/ 2750 h 2750"/>
              <a:gd name="T10" fmla="*/ 375 w 3750"/>
              <a:gd name="T11" fmla="*/ 2250 h 2750"/>
              <a:gd name="T12" fmla="*/ 875 w 3750"/>
              <a:gd name="T13" fmla="*/ 2250 h 2750"/>
              <a:gd name="T14" fmla="*/ 1875 w 3750"/>
              <a:gd name="T15" fmla="*/ 1750 h 2750"/>
              <a:gd name="T16" fmla="*/ 2375 w 3750"/>
              <a:gd name="T17" fmla="*/ 1750 h 2750"/>
              <a:gd name="T18" fmla="*/ 1250 w 3750"/>
              <a:gd name="T19" fmla="*/ 2250 h 2750"/>
              <a:gd name="T20" fmla="*/ 3625 w 3750"/>
              <a:gd name="T21" fmla="*/ 2250 h 2750"/>
              <a:gd name="T22" fmla="*/ 3750 w 3750"/>
              <a:gd name="T23" fmla="*/ 2125 h 2750"/>
              <a:gd name="T24" fmla="*/ 3750 w 3750"/>
              <a:gd name="T25" fmla="*/ 125 h 2750"/>
              <a:gd name="T26" fmla="*/ 3625 w 3750"/>
              <a:gd name="T27" fmla="*/ 0 h 2750"/>
              <a:gd name="T28" fmla="*/ 625 w 3750"/>
              <a:gd name="T29" fmla="*/ 0 h 2750"/>
              <a:gd name="T30" fmla="*/ 500 w 3750"/>
              <a:gd name="T31" fmla="*/ 125 h 2750"/>
              <a:gd name="T32" fmla="*/ 500 w 3750"/>
              <a:gd name="T33" fmla="*/ 750 h 2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50" h="2750">
                <a:moveTo>
                  <a:pt x="1250" y="2750"/>
                </a:moveTo>
                <a:cubicBezTo>
                  <a:pt x="0" y="2750"/>
                  <a:pt x="0" y="2750"/>
                  <a:pt x="0" y="2750"/>
                </a:cubicBezTo>
                <a:cubicBezTo>
                  <a:pt x="0" y="750"/>
                  <a:pt x="0" y="750"/>
                  <a:pt x="0" y="750"/>
                </a:cubicBezTo>
                <a:cubicBezTo>
                  <a:pt x="1250" y="750"/>
                  <a:pt x="1250" y="750"/>
                  <a:pt x="1250" y="750"/>
                </a:cubicBezTo>
                <a:lnTo>
                  <a:pt x="1250" y="2750"/>
                </a:lnTo>
                <a:close/>
                <a:moveTo>
                  <a:pt x="375" y="2250"/>
                </a:moveTo>
                <a:cubicBezTo>
                  <a:pt x="875" y="2250"/>
                  <a:pt x="875" y="2250"/>
                  <a:pt x="875" y="2250"/>
                </a:cubicBezTo>
                <a:moveTo>
                  <a:pt x="1875" y="1750"/>
                </a:moveTo>
                <a:cubicBezTo>
                  <a:pt x="2375" y="1750"/>
                  <a:pt x="2375" y="1750"/>
                  <a:pt x="2375" y="1750"/>
                </a:cubicBezTo>
                <a:moveTo>
                  <a:pt x="1250" y="2250"/>
                </a:moveTo>
                <a:cubicBezTo>
                  <a:pt x="3625" y="2250"/>
                  <a:pt x="3625" y="2250"/>
                  <a:pt x="3625" y="2250"/>
                </a:cubicBezTo>
                <a:cubicBezTo>
                  <a:pt x="3694" y="2250"/>
                  <a:pt x="3750" y="2194"/>
                  <a:pt x="3750" y="2125"/>
                </a:cubicBezTo>
                <a:cubicBezTo>
                  <a:pt x="3750" y="125"/>
                  <a:pt x="3750" y="125"/>
                  <a:pt x="3750" y="125"/>
                </a:cubicBezTo>
                <a:cubicBezTo>
                  <a:pt x="3750" y="56"/>
                  <a:pt x="3694" y="0"/>
                  <a:pt x="3625" y="0"/>
                </a:cubicBezTo>
                <a:cubicBezTo>
                  <a:pt x="625" y="0"/>
                  <a:pt x="625" y="0"/>
                  <a:pt x="625" y="0"/>
                </a:cubicBezTo>
                <a:cubicBezTo>
                  <a:pt x="556" y="0"/>
                  <a:pt x="500" y="56"/>
                  <a:pt x="500" y="125"/>
                </a:cubicBezTo>
                <a:cubicBezTo>
                  <a:pt x="500" y="750"/>
                  <a:pt x="500" y="750"/>
                  <a:pt x="500" y="750"/>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 name="Freeform 96" title="Icon of a gear with a wrench">
            <a:extLst>
              <a:ext uri="{FF2B5EF4-FFF2-40B4-BE49-F238E27FC236}">
                <a16:creationId xmlns:a16="http://schemas.microsoft.com/office/drawing/2014/main" id="{92AB6C3B-6752-A923-9889-0A8A36A76ED6}"/>
              </a:ext>
            </a:extLst>
          </p:cNvPr>
          <p:cNvSpPr>
            <a:spLocks noChangeAspect="1" noEditPoints="1"/>
          </p:cNvSpPr>
          <p:nvPr/>
        </p:nvSpPr>
        <p:spPr bwMode="auto">
          <a:xfrm>
            <a:off x="698706" y="3300265"/>
            <a:ext cx="258358" cy="237886"/>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Graphic 72">
            <a:extLst>
              <a:ext uri="{FF2B5EF4-FFF2-40B4-BE49-F238E27FC236}">
                <a16:creationId xmlns:a16="http://schemas.microsoft.com/office/drawing/2014/main" id="{515A82D6-84CB-127D-9712-11062B4742D4}"/>
              </a:ext>
            </a:extLst>
          </p:cNvPr>
          <p:cNvSpPr/>
          <p:nvPr/>
        </p:nvSpPr>
        <p:spPr>
          <a:xfrm>
            <a:off x="743751" y="3971337"/>
            <a:ext cx="168268" cy="207228"/>
          </a:xfrm>
          <a:custGeom>
            <a:avLst/>
            <a:gdLst>
              <a:gd name="connsiteX0" fmla="*/ 387001 w 773906"/>
              <a:gd name="connsiteY0" fmla="*/ 253079 h 953095"/>
              <a:gd name="connsiteX1" fmla="*/ 0 w 773906"/>
              <a:gd name="connsiteY1" fmla="*/ 126587 h 953095"/>
              <a:gd name="connsiteX2" fmla="*/ 387001 w 773906"/>
              <a:gd name="connsiteY2" fmla="*/ 0 h 953095"/>
              <a:gd name="connsiteX3" fmla="*/ 773906 w 773906"/>
              <a:gd name="connsiteY3" fmla="*/ 126587 h 953095"/>
              <a:gd name="connsiteX4" fmla="*/ 387001 w 773906"/>
              <a:gd name="connsiteY4" fmla="*/ 253079 h 953095"/>
              <a:gd name="connsiteX5" fmla="*/ 0 w 773906"/>
              <a:gd name="connsiteY5" fmla="*/ 227171 h 953095"/>
              <a:gd name="connsiteX6" fmla="*/ 0 w 773906"/>
              <a:gd name="connsiteY6" fmla="*/ 401860 h 953095"/>
              <a:gd name="connsiteX7" fmla="*/ 387001 w 773906"/>
              <a:gd name="connsiteY7" fmla="*/ 491204 h 953095"/>
              <a:gd name="connsiteX8" fmla="*/ 773906 w 773906"/>
              <a:gd name="connsiteY8" fmla="*/ 401860 h 953095"/>
              <a:gd name="connsiteX9" fmla="*/ 773906 w 773906"/>
              <a:gd name="connsiteY9" fmla="*/ 227171 h 953095"/>
              <a:gd name="connsiteX10" fmla="*/ 0 w 773906"/>
              <a:gd name="connsiteY10" fmla="*/ 481394 h 953095"/>
              <a:gd name="connsiteX11" fmla="*/ 0 w 773906"/>
              <a:gd name="connsiteY11" fmla="*/ 639985 h 953095"/>
              <a:gd name="connsiteX12" fmla="*/ 387001 w 773906"/>
              <a:gd name="connsiteY12" fmla="*/ 729329 h 953095"/>
              <a:gd name="connsiteX13" fmla="*/ 773906 w 773906"/>
              <a:gd name="connsiteY13" fmla="*/ 639985 h 953095"/>
              <a:gd name="connsiteX14" fmla="*/ 773906 w 773906"/>
              <a:gd name="connsiteY14" fmla="*/ 481394 h 953095"/>
              <a:gd name="connsiteX15" fmla="*/ 0 w 773906"/>
              <a:gd name="connsiteY15" fmla="*/ 719519 h 953095"/>
              <a:gd name="connsiteX16" fmla="*/ 0 w 773906"/>
              <a:gd name="connsiteY16" fmla="*/ 830294 h 953095"/>
              <a:gd name="connsiteX17" fmla="*/ 773906 w 773906"/>
              <a:gd name="connsiteY17" fmla="*/ 830294 h 953095"/>
              <a:gd name="connsiteX18" fmla="*/ 773906 w 773906"/>
              <a:gd name="connsiteY18" fmla="*/ 719519 h 953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73906" h="953095">
                <a:moveTo>
                  <a:pt x="387001" y="253079"/>
                </a:moveTo>
                <a:cubicBezTo>
                  <a:pt x="173260" y="253079"/>
                  <a:pt x="0" y="196405"/>
                  <a:pt x="0" y="126587"/>
                </a:cubicBezTo>
                <a:cubicBezTo>
                  <a:pt x="0" y="56769"/>
                  <a:pt x="173260" y="0"/>
                  <a:pt x="387001" y="0"/>
                </a:cubicBezTo>
                <a:cubicBezTo>
                  <a:pt x="600742" y="0"/>
                  <a:pt x="773906" y="56769"/>
                  <a:pt x="773906" y="126587"/>
                </a:cubicBezTo>
                <a:cubicBezTo>
                  <a:pt x="773906" y="196405"/>
                  <a:pt x="600742" y="253079"/>
                  <a:pt x="387001" y="253079"/>
                </a:cubicBezTo>
                <a:close/>
                <a:moveTo>
                  <a:pt x="0" y="227171"/>
                </a:moveTo>
                <a:lnTo>
                  <a:pt x="0" y="401860"/>
                </a:lnTo>
                <a:cubicBezTo>
                  <a:pt x="0" y="428530"/>
                  <a:pt x="131731" y="491204"/>
                  <a:pt x="387001" y="491204"/>
                </a:cubicBezTo>
                <a:cubicBezTo>
                  <a:pt x="642271" y="491204"/>
                  <a:pt x="773906" y="428530"/>
                  <a:pt x="773906" y="401860"/>
                </a:cubicBezTo>
                <a:lnTo>
                  <a:pt x="773906" y="227171"/>
                </a:lnTo>
                <a:moveTo>
                  <a:pt x="0" y="481394"/>
                </a:moveTo>
                <a:lnTo>
                  <a:pt x="0" y="639985"/>
                </a:lnTo>
                <a:cubicBezTo>
                  <a:pt x="0" y="666655"/>
                  <a:pt x="131731" y="729329"/>
                  <a:pt x="387001" y="729329"/>
                </a:cubicBezTo>
                <a:cubicBezTo>
                  <a:pt x="642271" y="729329"/>
                  <a:pt x="773906" y="666655"/>
                  <a:pt x="773906" y="639985"/>
                </a:cubicBezTo>
                <a:lnTo>
                  <a:pt x="773906" y="481394"/>
                </a:lnTo>
                <a:moveTo>
                  <a:pt x="0" y="719519"/>
                </a:moveTo>
                <a:lnTo>
                  <a:pt x="0" y="830294"/>
                </a:lnTo>
                <a:cubicBezTo>
                  <a:pt x="0" y="994029"/>
                  <a:pt x="773906" y="994029"/>
                  <a:pt x="773906" y="830294"/>
                </a:cubicBezTo>
                <a:lnTo>
                  <a:pt x="773906" y="719519"/>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sp>
        <p:nvSpPr>
          <p:cNvPr id="45" name="Trackers_EADF_bidi" title="Icon of a clipboard with a checklist on it">
            <a:extLst>
              <a:ext uri="{FF2B5EF4-FFF2-40B4-BE49-F238E27FC236}">
                <a16:creationId xmlns:a16="http://schemas.microsoft.com/office/drawing/2014/main" id="{5FC56D04-6461-7BEE-637B-221EBDD72AB4}"/>
              </a:ext>
            </a:extLst>
          </p:cNvPr>
          <p:cNvSpPr>
            <a:spLocks noChangeAspect="1" noEditPoints="1"/>
          </p:cNvSpPr>
          <p:nvPr/>
        </p:nvSpPr>
        <p:spPr bwMode="auto">
          <a:xfrm>
            <a:off x="743365" y="4619174"/>
            <a:ext cx="169040" cy="230494"/>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720323407"/>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C07B8E-14FF-3C2D-BE0E-F25E0D4B4DB3}"/>
              </a:ext>
            </a:extLst>
          </p:cNvPr>
          <p:cNvSpPr>
            <a:spLocks noGrp="1"/>
          </p:cNvSpPr>
          <p:nvPr>
            <p:ph type="title"/>
          </p:nvPr>
        </p:nvSpPr>
        <p:spPr>
          <a:xfrm>
            <a:off x="588263" y="457200"/>
            <a:ext cx="11018520" cy="553998"/>
          </a:xfrm>
        </p:spPr>
        <p:txBody>
          <a:bodyPr wrap="square" anchor="t">
            <a:normAutofit/>
          </a:bodyPr>
          <a:lstStyle/>
          <a:p>
            <a:r>
              <a:rPr lang="en-US"/>
              <a:t>Procurement and Azure Marketplace</a:t>
            </a:r>
          </a:p>
        </p:txBody>
      </p:sp>
      <p:sp>
        <p:nvSpPr>
          <p:cNvPr id="3" name="Content Placeholder 2">
            <a:extLst>
              <a:ext uri="{FF2B5EF4-FFF2-40B4-BE49-F238E27FC236}">
                <a16:creationId xmlns:a16="http://schemas.microsoft.com/office/drawing/2014/main" id="{C9D88242-39E7-FD9D-8E94-B07DD53805B5}"/>
              </a:ext>
            </a:extLst>
          </p:cNvPr>
          <p:cNvSpPr>
            <a:spLocks noGrp="1"/>
          </p:cNvSpPr>
          <p:nvPr>
            <p:ph sz="quarter" idx="12"/>
          </p:nvPr>
        </p:nvSpPr>
        <p:spPr>
          <a:xfrm>
            <a:off x="584200" y="1435100"/>
            <a:ext cx="5211763" cy="4833938"/>
          </a:xfrm>
        </p:spPr>
        <p:txBody>
          <a:bodyPr vert="horz" wrap="square" lIns="0" tIns="0" rIns="0" bIns="0" rtlCol="0">
            <a:normAutofit/>
          </a:bodyPr>
          <a:lstStyle/>
          <a:p>
            <a:pPr>
              <a:lnSpc>
                <a:spcPct val="90000"/>
              </a:lnSpc>
            </a:pPr>
            <a:r>
              <a:rPr lang="en-US"/>
              <a:t>What you need to know:</a:t>
            </a:r>
          </a:p>
          <a:p>
            <a:pPr lvl="1">
              <a:lnSpc>
                <a:spcPct val="90000"/>
              </a:lnSpc>
            </a:pPr>
            <a:r>
              <a:rPr lang="en-US" sz="2800"/>
              <a:t>Billing accounts and subscriptions</a:t>
            </a:r>
          </a:p>
          <a:p>
            <a:pPr lvl="1">
              <a:lnSpc>
                <a:spcPct val="90000"/>
              </a:lnSpc>
            </a:pPr>
            <a:r>
              <a:rPr lang="en-US" sz="2800"/>
              <a:t>Must be subscription owner or contributor to purchase</a:t>
            </a:r>
          </a:p>
          <a:p>
            <a:pPr lvl="1">
              <a:lnSpc>
                <a:spcPct val="90000"/>
              </a:lnSpc>
            </a:pPr>
            <a:r>
              <a:rPr lang="en-US" sz="2800"/>
              <a:t>Azure subscriptions is consumption-based</a:t>
            </a:r>
          </a:p>
          <a:p>
            <a:pPr lvl="1">
              <a:lnSpc>
                <a:spcPct val="90000"/>
              </a:lnSpc>
            </a:pPr>
            <a:r>
              <a:rPr lang="en-US" sz="2800"/>
              <a:t>SaaS subscription is time-based</a:t>
            </a:r>
          </a:p>
          <a:p>
            <a:pPr lvl="1">
              <a:lnSpc>
                <a:spcPct val="90000"/>
              </a:lnSpc>
            </a:pPr>
            <a:r>
              <a:rPr lang="en-US" sz="2800"/>
              <a:t>Billing account ID is needed for private offer agreements</a:t>
            </a:r>
          </a:p>
        </p:txBody>
      </p:sp>
      <p:sp>
        <p:nvSpPr>
          <p:cNvPr id="8" name="Content Placeholder 3">
            <a:extLst>
              <a:ext uri="{FF2B5EF4-FFF2-40B4-BE49-F238E27FC236}">
                <a16:creationId xmlns:a16="http://schemas.microsoft.com/office/drawing/2014/main" id="{0BEC7ADA-45E0-D0DE-3260-36E676ED3447}"/>
              </a:ext>
            </a:extLst>
          </p:cNvPr>
          <p:cNvSpPr>
            <a:spLocks noGrp="1"/>
          </p:cNvSpPr>
          <p:nvPr>
            <p:ph sz="quarter" idx="13"/>
          </p:nvPr>
        </p:nvSpPr>
        <p:spPr>
          <a:xfrm>
            <a:off x="6389688" y="1435100"/>
            <a:ext cx="5219700" cy="4833938"/>
          </a:xfrm>
        </p:spPr>
        <p:txBody>
          <a:bodyPr/>
          <a:lstStyle/>
          <a:p>
            <a:endParaRPr lang="en-US"/>
          </a:p>
        </p:txBody>
      </p:sp>
    </p:spTree>
    <p:extLst>
      <p:ext uri="{BB962C8B-B14F-4D97-AF65-F5344CB8AC3E}">
        <p14:creationId xmlns:p14="http://schemas.microsoft.com/office/powerpoint/2010/main" val="2839524364"/>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3D571B-B150-1C46-5F05-A09D93B7AE7A}"/>
              </a:ext>
            </a:extLst>
          </p:cNvPr>
          <p:cNvSpPr>
            <a:spLocks noGrp="1"/>
          </p:cNvSpPr>
          <p:nvPr>
            <p:ph type="title"/>
          </p:nvPr>
        </p:nvSpPr>
        <p:spPr>
          <a:xfrm>
            <a:off x="588263" y="457200"/>
            <a:ext cx="11018520" cy="553998"/>
          </a:xfrm>
        </p:spPr>
        <p:txBody>
          <a:bodyPr wrap="square" anchor="t">
            <a:normAutofit/>
          </a:bodyPr>
          <a:lstStyle/>
          <a:p>
            <a:r>
              <a:rPr lang="en-US"/>
              <a:t>Account Settings</a:t>
            </a:r>
          </a:p>
        </p:txBody>
      </p:sp>
      <p:graphicFrame>
        <p:nvGraphicFramePr>
          <p:cNvPr id="5" name="Content Placeholder 2">
            <a:extLst>
              <a:ext uri="{FF2B5EF4-FFF2-40B4-BE49-F238E27FC236}">
                <a16:creationId xmlns:a16="http://schemas.microsoft.com/office/drawing/2014/main" id="{02521839-71E7-D3DB-2A79-15E7270E214C}"/>
              </a:ext>
            </a:extLst>
          </p:cNvPr>
          <p:cNvGraphicFramePr>
            <a:graphicFrameLocks noGrp="1"/>
          </p:cNvGraphicFramePr>
          <p:nvPr>
            <p:ph sz="quarter" idx="10"/>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086260143"/>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44469C-FA2E-89F4-8275-78C7809263F1}"/>
              </a:ext>
            </a:extLst>
          </p:cNvPr>
          <p:cNvSpPr>
            <a:spLocks noGrp="1"/>
          </p:cNvSpPr>
          <p:nvPr>
            <p:ph type="title"/>
          </p:nvPr>
        </p:nvSpPr>
        <p:spPr>
          <a:xfrm>
            <a:off x="588263" y="457200"/>
            <a:ext cx="11018520" cy="553998"/>
          </a:xfrm>
        </p:spPr>
        <p:txBody>
          <a:bodyPr wrap="square" anchor="t">
            <a:normAutofit/>
          </a:bodyPr>
          <a:lstStyle/>
          <a:p>
            <a:r>
              <a:rPr lang="en-US"/>
              <a:t>Account settings demo</a:t>
            </a:r>
          </a:p>
        </p:txBody>
      </p:sp>
      <p:graphicFrame>
        <p:nvGraphicFramePr>
          <p:cNvPr id="6" name="Content Placeholder 2">
            <a:extLst>
              <a:ext uri="{FF2B5EF4-FFF2-40B4-BE49-F238E27FC236}">
                <a16:creationId xmlns:a16="http://schemas.microsoft.com/office/drawing/2014/main" id="{8F951D51-311C-2EFC-35E8-15B871457F00}"/>
              </a:ext>
            </a:extLst>
          </p:cNvPr>
          <p:cNvGraphicFramePr>
            <a:graphicFrameLocks noGrp="1"/>
          </p:cNvGraphicFramePr>
          <p:nvPr>
            <p:ph sz="quarter" idx="10"/>
            <p:extLst>
              <p:ext uri="{D42A27DB-BD31-4B8C-83A1-F6EECF244321}">
                <p14:modId xmlns:p14="http://schemas.microsoft.com/office/powerpoint/2010/main" val="3791399913"/>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79969417"/>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644AF7-A23F-1DD9-6E3C-EE7368917D77}"/>
              </a:ext>
            </a:extLst>
          </p:cNvPr>
          <p:cNvSpPr>
            <a:spLocks noGrp="1"/>
          </p:cNvSpPr>
          <p:nvPr>
            <p:ph type="title"/>
          </p:nvPr>
        </p:nvSpPr>
        <p:spPr>
          <a:xfrm>
            <a:off x="588263" y="457200"/>
            <a:ext cx="11018520" cy="553998"/>
          </a:xfrm>
        </p:spPr>
        <p:txBody>
          <a:bodyPr wrap="square" anchor="t">
            <a:normAutofit/>
          </a:bodyPr>
          <a:lstStyle/>
          <a:p>
            <a:r>
              <a:rPr lang="en-US"/>
              <a:t>User Consent to Applications</a:t>
            </a:r>
          </a:p>
        </p:txBody>
      </p:sp>
      <p:pic>
        <p:nvPicPr>
          <p:cNvPr id="4" name="Picture 3" descr="A screenshot of a computer&#10;&#10;Description automatically generated">
            <a:extLst>
              <a:ext uri="{FF2B5EF4-FFF2-40B4-BE49-F238E27FC236}">
                <a16:creationId xmlns:a16="http://schemas.microsoft.com/office/drawing/2014/main" id="{D26C38C8-22B0-0868-2D0E-669BDC2059B1}"/>
              </a:ext>
            </a:extLst>
          </p:cNvPr>
          <p:cNvPicPr>
            <a:picLocks noChangeAspect="1"/>
          </p:cNvPicPr>
          <p:nvPr/>
        </p:nvPicPr>
        <p:blipFill>
          <a:blip r:embed="rId3"/>
          <a:stretch>
            <a:fillRect/>
          </a:stretch>
        </p:blipFill>
        <p:spPr>
          <a:xfrm>
            <a:off x="584200" y="2966069"/>
            <a:ext cx="5211763" cy="1771999"/>
          </a:xfrm>
          <a:prstGeom prst="rect">
            <a:avLst/>
          </a:prstGeom>
          <a:noFill/>
        </p:spPr>
      </p:pic>
      <p:sp>
        <p:nvSpPr>
          <p:cNvPr id="3" name="Content Placeholder 2">
            <a:extLst>
              <a:ext uri="{FF2B5EF4-FFF2-40B4-BE49-F238E27FC236}">
                <a16:creationId xmlns:a16="http://schemas.microsoft.com/office/drawing/2014/main" id="{2E50BA7C-3255-BC69-812B-892217F5D36D}"/>
              </a:ext>
            </a:extLst>
          </p:cNvPr>
          <p:cNvSpPr>
            <a:spLocks noGrp="1"/>
          </p:cNvSpPr>
          <p:nvPr>
            <p:ph sz="quarter" idx="13"/>
          </p:nvPr>
        </p:nvSpPr>
        <p:spPr>
          <a:xfrm>
            <a:off x="6389688" y="1435100"/>
            <a:ext cx="5219700" cy="5170652"/>
          </a:xfrm>
        </p:spPr>
        <p:txBody>
          <a:bodyPr vert="horz" wrap="square" lIns="0" tIns="0" rIns="0" bIns="0" rtlCol="0">
            <a:normAutofit/>
          </a:bodyPr>
          <a:lstStyle/>
          <a:p>
            <a:pPr>
              <a:lnSpc>
                <a:spcPct val="90000"/>
              </a:lnSpc>
            </a:pPr>
            <a:r>
              <a:rPr lang="en-US" sz="1500"/>
              <a:t>Users need to grant permission for apps to access data</a:t>
            </a:r>
          </a:p>
          <a:p>
            <a:pPr>
              <a:lnSpc>
                <a:spcPct val="90000"/>
              </a:lnSpc>
            </a:pPr>
            <a:r>
              <a:rPr lang="en-US" sz="1500"/>
              <a:t>Settings can allow or deny users from granting these permissions</a:t>
            </a:r>
          </a:p>
          <a:p>
            <a:pPr>
              <a:lnSpc>
                <a:spcPct val="90000"/>
              </a:lnSpc>
            </a:pPr>
            <a:r>
              <a:rPr lang="en-US" sz="1500"/>
              <a:t>Configure user consent settings within </a:t>
            </a:r>
            <a:r>
              <a:rPr lang="en-US" sz="1500" err="1"/>
              <a:t>Entra</a:t>
            </a:r>
            <a:r>
              <a:rPr lang="en-US" sz="1500"/>
              <a:t> admin center</a:t>
            </a:r>
          </a:p>
          <a:p>
            <a:pPr>
              <a:lnSpc>
                <a:spcPct val="90000"/>
              </a:lnSpc>
            </a:pPr>
            <a:r>
              <a:rPr lang="en-US" sz="1500"/>
              <a:t>Prerequisites:</a:t>
            </a:r>
          </a:p>
          <a:p>
            <a:pPr lvl="1">
              <a:lnSpc>
                <a:spcPct val="90000"/>
              </a:lnSpc>
            </a:pPr>
            <a:r>
              <a:rPr lang="en-US" sz="1500"/>
              <a:t>User account</a:t>
            </a:r>
          </a:p>
          <a:p>
            <a:pPr lvl="1">
              <a:lnSpc>
                <a:spcPct val="90000"/>
              </a:lnSpc>
            </a:pPr>
            <a:r>
              <a:rPr lang="en-US" sz="1500"/>
              <a:t>Global Administrator role for configuration</a:t>
            </a:r>
          </a:p>
          <a:p>
            <a:pPr>
              <a:lnSpc>
                <a:spcPct val="90000"/>
              </a:lnSpc>
              <a:spcBef>
                <a:spcPts val="20"/>
              </a:spcBef>
            </a:pPr>
            <a:r>
              <a:rPr lang="en-US" sz="1500"/>
              <a:t>To configure user consent settings through the Microsoft </a:t>
            </a:r>
            <a:r>
              <a:rPr lang="en-US" sz="1500" err="1"/>
              <a:t>Entra</a:t>
            </a:r>
            <a:r>
              <a:rPr lang="en-US" sz="1500"/>
              <a:t> admin center:</a:t>
            </a:r>
          </a:p>
          <a:p>
            <a:pPr marL="685800" lvl="1" indent="-457200">
              <a:lnSpc>
                <a:spcPct val="90000"/>
              </a:lnSpc>
              <a:spcBef>
                <a:spcPts val="20"/>
              </a:spcBef>
              <a:buAutoNum type="arabicPeriod"/>
            </a:pPr>
            <a:r>
              <a:rPr lang="en-US" sz="1500"/>
              <a:t>Sign in to the Microsoft </a:t>
            </a:r>
            <a:r>
              <a:rPr lang="en-US" sz="1500" err="1"/>
              <a:t>Entra</a:t>
            </a:r>
            <a:r>
              <a:rPr lang="en-US" sz="1500"/>
              <a:t> admin center as </a:t>
            </a:r>
            <a:r>
              <a:rPr lang="en-US" sz="1500" err="1"/>
              <a:t>as</a:t>
            </a:r>
            <a:r>
              <a:rPr lang="en-US" sz="1500"/>
              <a:t> a Global Administrator.</a:t>
            </a:r>
          </a:p>
          <a:p>
            <a:pPr marL="685800" lvl="1" indent="-457200">
              <a:lnSpc>
                <a:spcPct val="90000"/>
              </a:lnSpc>
              <a:spcBef>
                <a:spcPts val="20"/>
              </a:spcBef>
              <a:buAutoNum type="arabicPeriod"/>
            </a:pPr>
            <a:r>
              <a:rPr lang="en-US" sz="1500"/>
              <a:t>Browse to Identity &gt; Applications &gt; Enterprise applications &gt; Consent and permissions &gt; User consent settings.</a:t>
            </a:r>
          </a:p>
          <a:p>
            <a:pPr marL="685800" lvl="1" indent="-457200">
              <a:lnSpc>
                <a:spcPct val="90000"/>
              </a:lnSpc>
              <a:spcBef>
                <a:spcPts val="20"/>
              </a:spcBef>
              <a:buAutoNum type="arabicPeriod"/>
            </a:pPr>
            <a:r>
              <a:rPr lang="en-US" sz="1500"/>
              <a:t>Under User consent for </a:t>
            </a:r>
            <a:r>
              <a:rPr lang="en-US" sz="1800"/>
              <a:t>applications</a:t>
            </a:r>
            <a:r>
              <a:rPr lang="en-US" sz="1500"/>
              <a:t>, select which consent setting you want to configure for all users.</a:t>
            </a:r>
          </a:p>
          <a:p>
            <a:pPr marL="685800" lvl="1" indent="-457200">
              <a:lnSpc>
                <a:spcPct val="90000"/>
              </a:lnSpc>
              <a:spcBef>
                <a:spcPts val="20"/>
              </a:spcBef>
              <a:buAutoNum type="arabicPeriod"/>
            </a:pPr>
            <a:r>
              <a:rPr lang="en-US" sz="1500"/>
              <a:t>Select Save to save your settings.</a:t>
            </a:r>
          </a:p>
          <a:p>
            <a:pPr marL="685800" lvl="1" indent="-457200">
              <a:lnSpc>
                <a:spcPct val="90000"/>
              </a:lnSpc>
              <a:buAutoNum type="arabicPeriod"/>
            </a:pPr>
            <a:endParaRPr lang="en-US" sz="1500"/>
          </a:p>
        </p:txBody>
      </p:sp>
    </p:spTree>
    <p:extLst>
      <p:ext uri="{BB962C8B-B14F-4D97-AF65-F5344CB8AC3E}">
        <p14:creationId xmlns:p14="http://schemas.microsoft.com/office/powerpoint/2010/main" val="848203549"/>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269E640-ABA6-E084-C63A-7A1C976F25BF}"/>
              </a:ext>
            </a:extLst>
          </p:cNvPr>
          <p:cNvSpPr txBox="1"/>
          <p:nvPr/>
        </p:nvSpPr>
        <p:spPr>
          <a:xfrm>
            <a:off x="588263" y="457200"/>
            <a:ext cx="11018520" cy="553998"/>
          </a:xfrm>
          <a:prstGeom prst="rect">
            <a:avLst/>
          </a:prstGeom>
        </p:spPr>
        <p:txBody>
          <a:bodyPr rot="0" spcFirstLastPara="0" vertOverflow="overflow" horzOverflow="overflow" vert="horz" wrap="square" lIns="0" tIns="0" rIns="0" bIns="0" numCol="1" spcCol="0" rtlCol="0" fromWordArt="0" anchor="t" anchorCtr="0" forceAA="0" compatLnSpc="1">
            <a:prstTxWarp prst="textNoShape">
              <a:avLst/>
            </a:prstTxWarp>
            <a:normAutofit/>
          </a:bodyPr>
          <a:lstStyle/>
          <a:p>
            <a:pPr defTabSz="932742">
              <a:lnSpc>
                <a:spcPct val="90000"/>
              </a:lnSpc>
              <a:spcBef>
                <a:spcPct val="0"/>
              </a:spcBef>
              <a:spcAft>
                <a:spcPts val="600"/>
              </a:spcAft>
            </a:pPr>
            <a:r>
              <a:rPr lang="en-US" sz="3600" spc="-50">
                <a:ln w="3175">
                  <a:noFill/>
                </a:ln>
                <a:latin typeface="+mj-lt"/>
                <a:cs typeface="Segoe UI"/>
              </a:rPr>
              <a:t>Commercial marketplace lead management</a:t>
            </a:r>
          </a:p>
        </p:txBody>
      </p:sp>
      <p:sp>
        <p:nvSpPr>
          <p:cNvPr id="3" name="Content Placeholder 2">
            <a:extLst>
              <a:ext uri="{FF2B5EF4-FFF2-40B4-BE49-F238E27FC236}">
                <a16:creationId xmlns:a16="http://schemas.microsoft.com/office/drawing/2014/main" id="{B292C898-D7C5-5588-2756-41BF32174685}"/>
              </a:ext>
            </a:extLst>
          </p:cNvPr>
          <p:cNvSpPr>
            <a:spLocks noGrp="1"/>
          </p:cNvSpPr>
          <p:nvPr>
            <p:ph sz="quarter" idx="12"/>
          </p:nvPr>
        </p:nvSpPr>
        <p:spPr>
          <a:xfrm>
            <a:off x="584200" y="1435100"/>
            <a:ext cx="5211763" cy="4833938"/>
          </a:xfrm>
        </p:spPr>
        <p:txBody>
          <a:bodyPr vert="horz" wrap="square" lIns="0" tIns="0" rIns="0" bIns="0" rtlCol="0">
            <a:normAutofit/>
          </a:bodyPr>
          <a:lstStyle/>
          <a:p>
            <a:pPr>
              <a:lnSpc>
                <a:spcPct val="90000"/>
              </a:lnSpc>
            </a:pPr>
            <a:r>
              <a:rPr lang="en-US" sz="2200"/>
              <a:t>Connecting your Customer Relationship Management (CRM) system to get customer leads from your commercial marketplace offer</a:t>
            </a:r>
          </a:p>
          <a:p>
            <a:pPr>
              <a:lnSpc>
                <a:spcPct val="90000"/>
              </a:lnSpc>
            </a:pPr>
            <a:r>
              <a:rPr lang="en-US" sz="2200"/>
              <a:t>Offering a free trial or test drive of your offer so customers can test your solution</a:t>
            </a:r>
          </a:p>
          <a:p>
            <a:pPr>
              <a:lnSpc>
                <a:spcPct val="90000"/>
              </a:lnSpc>
            </a:pPr>
            <a:r>
              <a:rPr lang="en-US" sz="2200"/>
              <a:t>Integrating your software with Azure Active Directory for streamlined purchasing, fulfillment, and management of your solution for customers</a:t>
            </a:r>
          </a:p>
          <a:p>
            <a:pPr>
              <a:lnSpc>
                <a:spcPct val="90000"/>
              </a:lnSpc>
            </a:pPr>
            <a:r>
              <a:rPr lang="en-US" sz="2200"/>
              <a:t>Building a transact offer to provide streamlined purchases and automated distribution of your solution</a:t>
            </a:r>
          </a:p>
          <a:p>
            <a:pPr>
              <a:lnSpc>
                <a:spcPct val="90000"/>
              </a:lnSpc>
            </a:pPr>
            <a:endParaRPr lang="en-US" sz="2200"/>
          </a:p>
        </p:txBody>
      </p:sp>
      <p:pic>
        <p:nvPicPr>
          <p:cNvPr id="5" name="Picture 4" descr="A screenshot of a computer&#10;&#10;Description automatically generated">
            <a:extLst>
              <a:ext uri="{FF2B5EF4-FFF2-40B4-BE49-F238E27FC236}">
                <a16:creationId xmlns:a16="http://schemas.microsoft.com/office/drawing/2014/main" id="{765FAD07-A030-38A5-FD92-FC1A4D70F233}"/>
              </a:ext>
            </a:extLst>
          </p:cNvPr>
          <p:cNvPicPr>
            <a:picLocks noChangeAspect="1"/>
          </p:cNvPicPr>
          <p:nvPr/>
        </p:nvPicPr>
        <p:blipFill>
          <a:blip r:embed="rId3"/>
          <a:stretch>
            <a:fillRect/>
          </a:stretch>
        </p:blipFill>
        <p:spPr>
          <a:xfrm>
            <a:off x="6389688" y="2260061"/>
            <a:ext cx="5219700" cy="3184016"/>
          </a:xfrm>
          <a:prstGeom prst="rect">
            <a:avLst/>
          </a:prstGeom>
          <a:noFill/>
        </p:spPr>
      </p:pic>
    </p:spTree>
    <p:extLst>
      <p:ext uri="{BB962C8B-B14F-4D97-AF65-F5344CB8AC3E}">
        <p14:creationId xmlns:p14="http://schemas.microsoft.com/office/powerpoint/2010/main" val="572556567"/>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4D640B-8499-E0C5-C508-35266E13B6E6}"/>
              </a:ext>
            </a:extLst>
          </p:cNvPr>
          <p:cNvSpPr>
            <a:spLocks noGrp="1"/>
          </p:cNvSpPr>
          <p:nvPr>
            <p:ph type="title"/>
          </p:nvPr>
        </p:nvSpPr>
        <p:spPr>
          <a:xfrm>
            <a:off x="588263" y="457200"/>
            <a:ext cx="11018520" cy="553998"/>
          </a:xfrm>
        </p:spPr>
        <p:txBody>
          <a:bodyPr wrap="square" anchor="t">
            <a:normAutofit/>
          </a:bodyPr>
          <a:lstStyle/>
          <a:p>
            <a:r>
              <a:rPr lang="en-US"/>
              <a:t>Procurement Solutions and Marketplace</a:t>
            </a:r>
          </a:p>
        </p:txBody>
      </p:sp>
      <p:graphicFrame>
        <p:nvGraphicFramePr>
          <p:cNvPr id="5" name="Content Placeholder 2">
            <a:extLst>
              <a:ext uri="{FF2B5EF4-FFF2-40B4-BE49-F238E27FC236}">
                <a16:creationId xmlns:a16="http://schemas.microsoft.com/office/drawing/2014/main" id="{A5BBB90B-5CC9-A280-14DC-2C91D4F347EE}"/>
              </a:ext>
            </a:extLst>
          </p:cNvPr>
          <p:cNvGraphicFramePr>
            <a:graphicFrameLocks noGrp="1"/>
          </p:cNvGraphicFramePr>
          <p:nvPr>
            <p:ph sz="quarter" idx="10"/>
            <p:extLst>
              <p:ext uri="{D42A27DB-BD31-4B8C-83A1-F6EECF244321}">
                <p14:modId xmlns:p14="http://schemas.microsoft.com/office/powerpoint/2010/main" val="3497735570"/>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421521076"/>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98F413-FA4A-5DAC-66E1-E02E10AE53D2}"/>
              </a:ext>
            </a:extLst>
          </p:cNvPr>
          <p:cNvSpPr>
            <a:spLocks noGrp="1"/>
          </p:cNvSpPr>
          <p:nvPr>
            <p:ph type="title"/>
          </p:nvPr>
        </p:nvSpPr>
        <p:spPr/>
        <p:txBody>
          <a:bodyPr/>
          <a:lstStyle/>
          <a:p>
            <a:r>
              <a:rPr lang="en-US">
                <a:cs typeface="Segoe UI"/>
              </a:rPr>
              <a:t>Governance and Procurement management</a:t>
            </a:r>
            <a:endParaRPr lang="en-US"/>
          </a:p>
        </p:txBody>
      </p:sp>
    </p:spTree>
    <p:extLst>
      <p:ext uri="{BB962C8B-B14F-4D97-AF65-F5344CB8AC3E}">
        <p14:creationId xmlns:p14="http://schemas.microsoft.com/office/powerpoint/2010/main" val="2409884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CF5E71-8482-5C4A-1937-62180CED69B1}"/>
              </a:ext>
            </a:extLst>
          </p:cNvPr>
          <p:cNvSpPr>
            <a:spLocks noGrp="1"/>
          </p:cNvSpPr>
          <p:nvPr>
            <p:ph type="title"/>
          </p:nvPr>
        </p:nvSpPr>
        <p:spPr>
          <a:xfrm>
            <a:off x="588263" y="457200"/>
            <a:ext cx="11018520" cy="553998"/>
          </a:xfrm>
        </p:spPr>
        <p:txBody>
          <a:bodyPr wrap="square" anchor="t">
            <a:normAutofit/>
          </a:bodyPr>
          <a:lstStyle/>
          <a:p>
            <a:r>
              <a:rPr lang="en-US" dirty="0"/>
              <a:t>Governance and control of solutions</a:t>
            </a:r>
          </a:p>
        </p:txBody>
      </p:sp>
      <p:graphicFrame>
        <p:nvGraphicFramePr>
          <p:cNvPr id="7" name="Content Placeholder 2">
            <a:extLst>
              <a:ext uri="{FF2B5EF4-FFF2-40B4-BE49-F238E27FC236}">
                <a16:creationId xmlns:a16="http://schemas.microsoft.com/office/drawing/2014/main" id="{A219546F-E536-A279-B526-1AE693C0FEBC}"/>
              </a:ext>
            </a:extLst>
          </p:cNvPr>
          <p:cNvGraphicFramePr>
            <a:graphicFrameLocks noGrp="1"/>
          </p:cNvGraphicFramePr>
          <p:nvPr>
            <p:ph sz="quarter" idx="10"/>
            <p:extLst>
              <p:ext uri="{D42A27DB-BD31-4B8C-83A1-F6EECF244321}">
                <p14:modId xmlns:p14="http://schemas.microsoft.com/office/powerpoint/2010/main" val="1487216133"/>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770102974"/>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5B6354-2028-24B8-66E1-0D45962243CA}"/>
              </a:ext>
            </a:extLst>
          </p:cNvPr>
          <p:cNvSpPr>
            <a:spLocks noGrp="1"/>
          </p:cNvSpPr>
          <p:nvPr>
            <p:ph type="title"/>
          </p:nvPr>
        </p:nvSpPr>
        <p:spPr>
          <a:xfrm>
            <a:off x="588263" y="457200"/>
            <a:ext cx="11018520" cy="553998"/>
          </a:xfrm>
        </p:spPr>
        <p:txBody>
          <a:bodyPr wrap="square" anchor="t">
            <a:normAutofit/>
          </a:bodyPr>
          <a:lstStyle/>
          <a:p>
            <a:r>
              <a:rPr lang="en-US"/>
              <a:t>Azure Private Marketplace</a:t>
            </a:r>
          </a:p>
        </p:txBody>
      </p:sp>
      <p:graphicFrame>
        <p:nvGraphicFramePr>
          <p:cNvPr id="11" name="Content Placeholder 2">
            <a:extLst>
              <a:ext uri="{FF2B5EF4-FFF2-40B4-BE49-F238E27FC236}">
                <a16:creationId xmlns:a16="http://schemas.microsoft.com/office/drawing/2014/main" id="{F05A35D9-D1C5-338E-A24B-63C76BB54E45}"/>
              </a:ext>
            </a:extLst>
          </p:cNvPr>
          <p:cNvGraphicFramePr>
            <a:graphicFrameLocks noGrp="1"/>
          </p:cNvGraphicFramePr>
          <p:nvPr>
            <p:ph sz="quarter" idx="10"/>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92997197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AA5FD98-5292-2367-63BF-BB583BFC2A96}"/>
              </a:ext>
            </a:extLst>
          </p:cNvPr>
          <p:cNvSpPr>
            <a:spLocks noGrp="1"/>
          </p:cNvSpPr>
          <p:nvPr>
            <p:ph type="body" sz="quarter" idx="11"/>
          </p:nvPr>
        </p:nvSpPr>
        <p:spPr>
          <a:xfrm>
            <a:off x="584201" y="2370116"/>
            <a:ext cx="10480421" cy="2754192"/>
          </a:xfrm>
        </p:spPr>
        <p:txBody>
          <a:bodyPr/>
          <a:lstStyle/>
          <a:p>
            <a:r>
              <a:rPr lang="en-US" dirty="0">
                <a:solidFill>
                  <a:srgbClr val="FFFFFF"/>
                </a:solidFill>
                <a:cs typeface="Segoe UI"/>
              </a:rPr>
              <a:t>Microsoft Commercial Marketplace Overview and Purchasing </a:t>
            </a:r>
            <a:endParaRPr lang="en-US" dirty="0">
              <a:solidFill>
                <a:srgbClr val="FFFFFF"/>
              </a:solidFill>
            </a:endParaRPr>
          </a:p>
        </p:txBody>
      </p:sp>
    </p:spTree>
    <p:extLst>
      <p:ext uri="{BB962C8B-B14F-4D97-AF65-F5344CB8AC3E}">
        <p14:creationId xmlns:p14="http://schemas.microsoft.com/office/powerpoint/2010/main" val="2739312586"/>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8733DD-1422-5649-B7EC-6C22F68294E7}"/>
              </a:ext>
            </a:extLst>
          </p:cNvPr>
          <p:cNvSpPr>
            <a:spLocks noGrp="1"/>
          </p:cNvSpPr>
          <p:nvPr>
            <p:ph type="title"/>
          </p:nvPr>
        </p:nvSpPr>
        <p:spPr>
          <a:xfrm>
            <a:off x="588263" y="457200"/>
            <a:ext cx="11018520" cy="553998"/>
          </a:xfrm>
        </p:spPr>
        <p:txBody>
          <a:bodyPr wrap="square" anchor="t">
            <a:normAutofit/>
          </a:bodyPr>
          <a:lstStyle/>
          <a:p>
            <a:r>
              <a:rPr lang="en-US"/>
              <a:t>Procurement Management</a:t>
            </a:r>
          </a:p>
        </p:txBody>
      </p:sp>
      <p:graphicFrame>
        <p:nvGraphicFramePr>
          <p:cNvPr id="5" name="Content Placeholder 2">
            <a:extLst>
              <a:ext uri="{FF2B5EF4-FFF2-40B4-BE49-F238E27FC236}">
                <a16:creationId xmlns:a16="http://schemas.microsoft.com/office/drawing/2014/main" id="{EAD11503-D133-32E7-E133-88CB07DFE0F3}"/>
              </a:ext>
            </a:extLst>
          </p:cNvPr>
          <p:cNvGraphicFramePr>
            <a:graphicFrameLocks noGrp="1"/>
          </p:cNvGraphicFramePr>
          <p:nvPr>
            <p:ph sz="quarter" idx="10"/>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776730813"/>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2E3601-0348-0AC8-926D-2963A6EBDE54}"/>
              </a:ext>
            </a:extLst>
          </p:cNvPr>
          <p:cNvSpPr>
            <a:spLocks noGrp="1"/>
          </p:cNvSpPr>
          <p:nvPr>
            <p:ph type="title"/>
          </p:nvPr>
        </p:nvSpPr>
        <p:spPr>
          <a:xfrm>
            <a:off x="588263" y="457200"/>
            <a:ext cx="11018520" cy="553998"/>
          </a:xfrm>
        </p:spPr>
        <p:txBody>
          <a:bodyPr wrap="square" anchor="t">
            <a:normAutofit/>
          </a:bodyPr>
          <a:lstStyle/>
          <a:p>
            <a:r>
              <a:rPr lang="en-US"/>
              <a:t>Private Marketplace Workflow</a:t>
            </a:r>
          </a:p>
        </p:txBody>
      </p:sp>
      <p:sp>
        <p:nvSpPr>
          <p:cNvPr id="3" name="Content Placeholder 2">
            <a:extLst>
              <a:ext uri="{FF2B5EF4-FFF2-40B4-BE49-F238E27FC236}">
                <a16:creationId xmlns:a16="http://schemas.microsoft.com/office/drawing/2014/main" id="{226A9B3B-731B-E601-049B-025098728B19}"/>
              </a:ext>
            </a:extLst>
          </p:cNvPr>
          <p:cNvSpPr>
            <a:spLocks noGrp="1"/>
          </p:cNvSpPr>
          <p:nvPr>
            <p:ph type="body" sz="quarter" idx="10"/>
          </p:nvPr>
        </p:nvSpPr>
        <p:spPr>
          <a:xfrm>
            <a:off x="586390" y="1434370"/>
            <a:ext cx="11018837" cy="4051300"/>
          </a:xfrm>
        </p:spPr>
        <p:txBody>
          <a:bodyPr vert="horz" wrap="square" lIns="0" tIns="0" rIns="0" bIns="0" rtlCol="0">
            <a:normAutofit/>
          </a:bodyPr>
          <a:lstStyle/>
          <a:p>
            <a:r>
              <a:rPr lang="en-US" dirty="0"/>
              <a:t>Private Marketplace offers some control over individual purchase</a:t>
            </a:r>
          </a:p>
          <a:p>
            <a:pPr marL="685800" lvl="1" indent="-457200">
              <a:buFont typeface="Arial" panose="020B0604020202020204" pitchFamily="34" charset="0"/>
              <a:buChar char="•"/>
            </a:pPr>
            <a:r>
              <a:rPr lang="en-US" sz="2800" dirty="0"/>
              <a:t>Enables products to be available for purchase when needed</a:t>
            </a:r>
          </a:p>
          <a:p>
            <a:pPr marL="685800" lvl="1" indent="-457200">
              <a:buFont typeface="Arial" panose="020B0604020202020204" pitchFamily="34" charset="0"/>
              <a:buChar char="•"/>
            </a:pPr>
            <a:r>
              <a:rPr lang="en-US" sz="2800" dirty="0"/>
              <a:t>Procedural approvals allow products to be made available by marketplace administrator</a:t>
            </a:r>
          </a:p>
          <a:p>
            <a:endParaRPr lang="en-US" dirty="0"/>
          </a:p>
        </p:txBody>
      </p:sp>
    </p:spTree>
    <p:extLst>
      <p:ext uri="{BB962C8B-B14F-4D97-AF65-F5344CB8AC3E}">
        <p14:creationId xmlns:p14="http://schemas.microsoft.com/office/powerpoint/2010/main" val="1675599562"/>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A64A8C-98C4-0EC5-C359-C3F08F09CCD2}"/>
              </a:ext>
            </a:extLst>
          </p:cNvPr>
          <p:cNvSpPr>
            <a:spLocks noGrp="1"/>
          </p:cNvSpPr>
          <p:nvPr>
            <p:ph type="title"/>
          </p:nvPr>
        </p:nvSpPr>
        <p:spPr/>
        <p:txBody>
          <a:bodyPr/>
          <a:lstStyle/>
          <a:p>
            <a:r>
              <a:rPr lang="en-US" dirty="0">
                <a:cs typeface="Segoe UI"/>
              </a:rPr>
              <a:t>Private Marketplace demo</a:t>
            </a:r>
            <a:endParaRPr lang="en-US" dirty="0"/>
          </a:p>
        </p:txBody>
      </p:sp>
      <p:sp>
        <p:nvSpPr>
          <p:cNvPr id="3" name="Content Placeholder 2">
            <a:extLst>
              <a:ext uri="{FF2B5EF4-FFF2-40B4-BE49-F238E27FC236}">
                <a16:creationId xmlns:a16="http://schemas.microsoft.com/office/drawing/2014/main" id="{8EBEE321-11FC-1E70-73C4-F9D3512763DC}"/>
              </a:ext>
            </a:extLst>
          </p:cNvPr>
          <p:cNvSpPr>
            <a:spLocks noGrp="1"/>
          </p:cNvSpPr>
          <p:nvPr>
            <p:ph sz="quarter" idx="10"/>
          </p:nvPr>
        </p:nvSpPr>
        <p:spPr>
          <a:xfrm>
            <a:off x="584200" y="1435100"/>
            <a:ext cx="11018838" cy="430887"/>
          </a:xfrm>
        </p:spPr>
        <p:txBody>
          <a:bodyPr/>
          <a:lstStyle/>
          <a:p>
            <a:r>
              <a:rPr lang="en-US" dirty="0"/>
              <a:t>Walk through exercise</a:t>
            </a:r>
          </a:p>
        </p:txBody>
      </p:sp>
      <p:sp>
        <p:nvSpPr>
          <p:cNvPr id="4" name="TextBox 3">
            <a:extLst>
              <a:ext uri="{FF2B5EF4-FFF2-40B4-BE49-F238E27FC236}">
                <a16:creationId xmlns:a16="http://schemas.microsoft.com/office/drawing/2014/main" id="{894C4432-C891-B2F2-36B5-DC9ABE788A25}"/>
              </a:ext>
            </a:extLst>
          </p:cNvPr>
          <p:cNvSpPr txBox="1"/>
          <p:nvPr/>
        </p:nvSpPr>
        <p:spPr>
          <a:xfrm>
            <a:off x="769716" y="3219691"/>
            <a:ext cx="7382718" cy="55399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a:hlinkClick r:id="rId3"/>
              </a:rPr>
              <a:t>Create and manage Private Azure Marketplace collections in the Azure portal - Microsoft marketplace | Microsoft Learn</a:t>
            </a:r>
            <a:endParaRPr lang="en-US"/>
          </a:p>
        </p:txBody>
      </p:sp>
    </p:spTree>
    <p:extLst>
      <p:ext uri="{BB962C8B-B14F-4D97-AF65-F5344CB8AC3E}">
        <p14:creationId xmlns:p14="http://schemas.microsoft.com/office/powerpoint/2010/main" val="4211696148"/>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1E98F374-AEB3-0659-95E2-34C88EF9BD14}"/>
              </a:ext>
            </a:extLst>
          </p:cNvPr>
          <p:cNvSpPr/>
          <p:nvPr/>
        </p:nvSpPr>
        <p:spPr bwMode="auto">
          <a:xfrm>
            <a:off x="3588977" y="248165"/>
            <a:ext cx="8603023" cy="6019285"/>
          </a:xfrm>
          <a:custGeom>
            <a:avLst/>
            <a:gdLst>
              <a:gd name="connsiteX0" fmla="*/ 368916 w 8603023"/>
              <a:gd name="connsiteY0" fmla="*/ 0 h 5391150"/>
              <a:gd name="connsiteX1" fmla="*/ 8603023 w 8603023"/>
              <a:gd name="connsiteY1" fmla="*/ 0 h 5391150"/>
              <a:gd name="connsiteX2" fmla="*/ 8603023 w 8603023"/>
              <a:gd name="connsiteY2" fmla="*/ 5391150 h 5391150"/>
              <a:gd name="connsiteX3" fmla="*/ 368916 w 8603023"/>
              <a:gd name="connsiteY3" fmla="*/ 5391150 h 5391150"/>
              <a:gd name="connsiteX4" fmla="*/ 0 w 8603023"/>
              <a:gd name="connsiteY4" fmla="*/ 5022234 h 5391150"/>
              <a:gd name="connsiteX5" fmla="*/ 0 w 8603023"/>
              <a:gd name="connsiteY5" fmla="*/ 368916 h 5391150"/>
              <a:gd name="connsiteX6" fmla="*/ 368916 w 8603023"/>
              <a:gd name="connsiteY6" fmla="*/ 0 h 539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3023" h="5391150">
                <a:moveTo>
                  <a:pt x="368916" y="0"/>
                </a:moveTo>
                <a:lnTo>
                  <a:pt x="8603023" y="0"/>
                </a:lnTo>
                <a:lnTo>
                  <a:pt x="8603023" y="5391150"/>
                </a:lnTo>
                <a:lnTo>
                  <a:pt x="368916" y="5391150"/>
                </a:lnTo>
                <a:cubicBezTo>
                  <a:pt x="165169" y="5391150"/>
                  <a:pt x="0" y="5225981"/>
                  <a:pt x="0" y="5022234"/>
                </a:cubicBezTo>
                <a:lnTo>
                  <a:pt x="0" y="368916"/>
                </a:lnTo>
                <a:cubicBezTo>
                  <a:pt x="0" y="165169"/>
                  <a:pt x="165169" y="0"/>
                  <a:pt x="368916" y="0"/>
                </a:cubicBezTo>
                <a:close/>
              </a:path>
            </a:pathLst>
          </a:cu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err="1">
              <a:solidFill>
                <a:srgbClr val="FFFFFF"/>
              </a:solidFill>
              <a:cs typeface="Segoe UI" pitchFamily="34" charset="0"/>
            </a:endParaRPr>
          </a:p>
        </p:txBody>
      </p:sp>
      <p:sp>
        <p:nvSpPr>
          <p:cNvPr id="11" name="Freeform: Shape 10">
            <a:extLst>
              <a:ext uri="{FF2B5EF4-FFF2-40B4-BE49-F238E27FC236}">
                <a16:creationId xmlns:a16="http://schemas.microsoft.com/office/drawing/2014/main" id="{29DC32FC-7D88-4098-BBDA-40061F133983}"/>
              </a:ext>
            </a:extLst>
          </p:cNvPr>
          <p:cNvSpPr>
            <a:spLocks/>
          </p:cNvSpPr>
          <p:nvPr/>
        </p:nvSpPr>
        <p:spPr bwMode="auto">
          <a:xfrm flipV="1">
            <a:off x="0" y="1"/>
            <a:ext cx="3276600" cy="6267449"/>
          </a:xfrm>
          <a:custGeom>
            <a:avLst/>
            <a:gdLst>
              <a:gd name="connsiteX0" fmla="*/ 0 w 3276600"/>
              <a:gd name="connsiteY0" fmla="*/ 6267449 h 6267449"/>
              <a:gd name="connsiteX1" fmla="*/ 3276600 w 3276600"/>
              <a:gd name="connsiteY1" fmla="*/ 6267449 h 6267449"/>
              <a:gd name="connsiteX2" fmla="*/ 3276600 w 3276600"/>
              <a:gd name="connsiteY2" fmla="*/ 238149 h 6267449"/>
              <a:gd name="connsiteX3" fmla="*/ 3038451 w 3276600"/>
              <a:gd name="connsiteY3" fmla="*/ 0 h 6267449"/>
              <a:gd name="connsiteX4" fmla="*/ 0 w 3276600"/>
              <a:gd name="connsiteY4" fmla="*/ 0 h 6267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6600" h="6267449">
                <a:moveTo>
                  <a:pt x="0" y="6267449"/>
                </a:moveTo>
                <a:lnTo>
                  <a:pt x="3276600" y="6267449"/>
                </a:lnTo>
                <a:lnTo>
                  <a:pt x="3276600" y="238149"/>
                </a:lnTo>
                <a:cubicBezTo>
                  <a:pt x="3276600" y="106623"/>
                  <a:pt x="3169977" y="0"/>
                  <a:pt x="3038451" y="0"/>
                </a:cubicBezTo>
                <a:lnTo>
                  <a:pt x="0" y="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12" name="Freeform: Shape 11">
            <a:extLst>
              <a:ext uri="{FF2B5EF4-FFF2-40B4-BE49-F238E27FC236}">
                <a16:creationId xmlns:a16="http://schemas.microsoft.com/office/drawing/2014/main" id="{365BE44E-89D5-8293-A3E1-4536B5D3B526}"/>
              </a:ext>
            </a:extLst>
          </p:cNvPr>
          <p:cNvSpPr/>
          <p:nvPr/>
        </p:nvSpPr>
        <p:spPr bwMode="auto">
          <a:xfrm>
            <a:off x="3729802" y="1014692"/>
            <a:ext cx="8462198" cy="610908"/>
          </a:xfrm>
          <a:custGeom>
            <a:avLst/>
            <a:gdLst>
              <a:gd name="connsiteX0" fmla="*/ 0 w 8462198"/>
              <a:gd name="connsiteY0" fmla="*/ 305453 h 610908"/>
              <a:gd name="connsiteX1" fmla="*/ 0 w 8462198"/>
              <a:gd name="connsiteY1" fmla="*/ 305454 h 610908"/>
              <a:gd name="connsiteX2" fmla="*/ 0 w 8462198"/>
              <a:gd name="connsiteY2" fmla="*/ 305454 h 610908"/>
              <a:gd name="connsiteX3" fmla="*/ 305454 w 8462198"/>
              <a:gd name="connsiteY3" fmla="*/ 0 h 610908"/>
              <a:gd name="connsiteX4" fmla="*/ 8462198 w 8462198"/>
              <a:gd name="connsiteY4" fmla="*/ 0 h 610908"/>
              <a:gd name="connsiteX5" fmla="*/ 8462198 w 8462198"/>
              <a:gd name="connsiteY5" fmla="*/ 610908 h 610908"/>
              <a:gd name="connsiteX6" fmla="*/ 305454 w 8462198"/>
              <a:gd name="connsiteY6" fmla="*/ 610907 h 610908"/>
              <a:gd name="connsiteX7" fmla="*/ 24004 w 8462198"/>
              <a:gd name="connsiteY7" fmla="*/ 424350 h 610908"/>
              <a:gd name="connsiteX8" fmla="*/ 0 w 8462198"/>
              <a:gd name="connsiteY8" fmla="*/ 305454 h 610908"/>
              <a:gd name="connsiteX9" fmla="*/ 24004 w 8462198"/>
              <a:gd name="connsiteY9" fmla="*/ 186557 h 610908"/>
              <a:gd name="connsiteX10" fmla="*/ 305454 w 8462198"/>
              <a:gd name="connsiteY10" fmla="*/ 0 h 610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462198" h="610908">
                <a:moveTo>
                  <a:pt x="0" y="305453"/>
                </a:moveTo>
                <a:lnTo>
                  <a:pt x="0" y="305454"/>
                </a:lnTo>
                <a:lnTo>
                  <a:pt x="0" y="305454"/>
                </a:lnTo>
                <a:close/>
                <a:moveTo>
                  <a:pt x="305454" y="0"/>
                </a:moveTo>
                <a:lnTo>
                  <a:pt x="8462198" y="0"/>
                </a:lnTo>
                <a:lnTo>
                  <a:pt x="8462198" y="610908"/>
                </a:lnTo>
                <a:lnTo>
                  <a:pt x="305454" y="610907"/>
                </a:lnTo>
                <a:cubicBezTo>
                  <a:pt x="178931" y="610907"/>
                  <a:pt x="70375" y="533982"/>
                  <a:pt x="24004" y="424350"/>
                </a:cubicBezTo>
                <a:lnTo>
                  <a:pt x="0" y="305454"/>
                </a:lnTo>
                <a:lnTo>
                  <a:pt x="24004" y="186557"/>
                </a:lnTo>
                <a:cubicBezTo>
                  <a:pt x="70375" y="76925"/>
                  <a:pt x="178931" y="0"/>
                  <a:pt x="305454" y="0"/>
                </a:cubicBezTo>
                <a:close/>
              </a:path>
            </a:pathLst>
          </a:custGeom>
          <a:solidFill>
            <a:schemeClr val="accent1">
              <a:lumMod val="20000"/>
              <a:lumOff val="80000"/>
            </a:schemeClr>
          </a:solidFill>
          <a:ln w="6350">
            <a:noFill/>
          </a:ln>
        </p:spPr>
        <p:style>
          <a:lnRef idx="0">
            <a:scrgbClr r="0" g="0" b="0"/>
          </a:lnRef>
          <a:fillRef idx="0">
            <a:scrgbClr r="0" g="0" b="0"/>
          </a:fillRef>
          <a:effectRef idx="0">
            <a:scrgbClr r="0" g="0" b="0"/>
          </a:effectRef>
          <a:fontRef idx="minor">
            <a:schemeClr val="lt1"/>
          </a:fontRef>
        </p:style>
        <p:txBody>
          <a:bodyPr spcFirstLastPara="0" vert="horz" wrap="square" lIns="658368" tIns="45720" rIns="91440" bIns="45720" numCol="1" spcCol="1270" anchor="ctr" anchorCtr="0">
            <a:noAutofit/>
          </a:bodyPr>
          <a:lstStyle/>
          <a:p>
            <a:pPr marL="0" marR="0" lvl="0" indent="0" defTabSz="914367"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chemeClr val="bg1"/>
                </a:solidFill>
                <a:effectLst/>
                <a:uLnTx/>
                <a:uFillTx/>
                <a:latin typeface="+mj-lt"/>
                <a:ea typeface="+mn-ea"/>
                <a:cs typeface="+mn-cs"/>
              </a:rPr>
              <a:t>What you learned:</a:t>
            </a:r>
            <a:endParaRPr lang="en-US" sz="2400" b="1" i="0" u="none" strike="noStrike" kern="1200" cap="none" spc="0" normalizeH="0" baseline="0" noProof="0">
              <a:ln>
                <a:noFill/>
              </a:ln>
              <a:solidFill>
                <a:schemeClr val="bg1"/>
              </a:solidFill>
              <a:effectLst/>
              <a:uLnTx/>
              <a:uFillTx/>
              <a:latin typeface="+mj-lt"/>
              <a:cs typeface="Segoe UI Semibold"/>
            </a:endParaRPr>
          </a:p>
        </p:txBody>
      </p:sp>
      <p:grpSp>
        <p:nvGrpSpPr>
          <p:cNvPr id="13" name="Group 12">
            <a:extLst>
              <a:ext uri="{FF2B5EF4-FFF2-40B4-BE49-F238E27FC236}">
                <a16:creationId xmlns:a16="http://schemas.microsoft.com/office/drawing/2014/main" id="{36A25F59-5F30-9691-A845-51AAB6A9473E}"/>
              </a:ext>
            </a:extLst>
          </p:cNvPr>
          <p:cNvGrpSpPr/>
          <p:nvPr/>
        </p:nvGrpSpPr>
        <p:grpSpPr>
          <a:xfrm>
            <a:off x="3810887" y="1094371"/>
            <a:ext cx="451551" cy="451551"/>
            <a:chOff x="4863421" y="201635"/>
            <a:chExt cx="1828801" cy="1828801"/>
          </a:xfrm>
        </p:grpSpPr>
        <p:sp>
          <p:nvSpPr>
            <p:cNvPr id="14" name="Freeform: Shape 11">
              <a:extLst>
                <a:ext uri="{FF2B5EF4-FFF2-40B4-BE49-F238E27FC236}">
                  <a16:creationId xmlns:a16="http://schemas.microsoft.com/office/drawing/2014/main" id="{9E707223-9C65-B128-5EE9-740E5AA91A4F}"/>
                </a:ext>
              </a:extLst>
            </p:cNvPr>
            <p:cNvSpPr>
              <a:spLocks/>
            </p:cNvSpPr>
            <p:nvPr/>
          </p:nvSpPr>
          <p:spPr bwMode="auto">
            <a:xfrm>
              <a:off x="4863421" y="201635"/>
              <a:ext cx="1828801" cy="1828801"/>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696C3B90-A1CC-5EB4-B8A1-7E544F343939}"/>
                </a:ext>
              </a:extLst>
            </p:cNvPr>
            <p:cNvSpPr>
              <a:spLocks/>
            </p:cNvSpPr>
            <p:nvPr/>
          </p:nvSpPr>
          <p:spPr bwMode="auto">
            <a:xfrm>
              <a:off x="5085647" y="423863"/>
              <a:ext cx="1384344" cy="138434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nvGrpSpPr>
          <p:cNvPr id="17" name="Group 16">
            <a:extLst>
              <a:ext uri="{FF2B5EF4-FFF2-40B4-BE49-F238E27FC236}">
                <a16:creationId xmlns:a16="http://schemas.microsoft.com/office/drawing/2014/main" id="{A8CCFE43-739D-C985-CAC3-96A49E2897A7}"/>
              </a:ext>
            </a:extLst>
          </p:cNvPr>
          <p:cNvGrpSpPr/>
          <p:nvPr/>
        </p:nvGrpSpPr>
        <p:grpSpPr>
          <a:xfrm>
            <a:off x="3987847" y="1739668"/>
            <a:ext cx="7621541" cy="276999"/>
            <a:chOff x="3987847" y="1739668"/>
            <a:chExt cx="7621541" cy="276999"/>
          </a:xfrm>
        </p:grpSpPr>
        <p:sp>
          <p:nvSpPr>
            <p:cNvPr id="18" name="TextBox 17">
              <a:extLst>
                <a:ext uri="{FF2B5EF4-FFF2-40B4-BE49-F238E27FC236}">
                  <a16:creationId xmlns:a16="http://schemas.microsoft.com/office/drawing/2014/main" id="{7D66421A-6C08-23BB-D770-A2A0FF91DD1C}"/>
                </a:ext>
              </a:extLst>
            </p:cNvPr>
            <p:cNvSpPr txBox="1"/>
            <p:nvPr/>
          </p:nvSpPr>
          <p:spPr>
            <a:xfrm>
              <a:off x="4214813" y="1739668"/>
              <a:ext cx="7394575" cy="276999"/>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defTabSz="932472" fontAlgn="base">
                <a:spcBef>
                  <a:spcPct val="0"/>
                </a:spcBef>
                <a:spcAft>
                  <a:spcPct val="0"/>
                </a:spcAft>
                <a:defRPr sz="2000">
                  <a:solidFill>
                    <a:srgbClr val="FFFFFF"/>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a:solidFill>
                    <a:schemeClr val="tx1"/>
                  </a:solidFill>
                  <a:cs typeface="Segoe UI"/>
                </a:rPr>
                <a:t>Explain how to Integrate Azure Marketplace with Procurement Systems.</a:t>
              </a:r>
            </a:p>
          </p:txBody>
        </p:sp>
        <p:sp>
          <p:nvSpPr>
            <p:cNvPr id="19" name="Freeform: Shape 11">
              <a:extLst>
                <a:ext uri="{FF2B5EF4-FFF2-40B4-BE49-F238E27FC236}">
                  <a16:creationId xmlns:a16="http://schemas.microsoft.com/office/drawing/2014/main" id="{BEC23B18-2C86-B81C-B0D6-169D7982838A}"/>
                </a:ext>
              </a:extLst>
            </p:cNvPr>
            <p:cNvSpPr>
              <a:spLocks/>
            </p:cNvSpPr>
            <p:nvPr/>
          </p:nvSpPr>
          <p:spPr bwMode="auto">
            <a:xfrm>
              <a:off x="3987847" y="1829352"/>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nvGrpSpPr>
          <p:cNvPr id="20" name="Group 19">
            <a:extLst>
              <a:ext uri="{FF2B5EF4-FFF2-40B4-BE49-F238E27FC236}">
                <a16:creationId xmlns:a16="http://schemas.microsoft.com/office/drawing/2014/main" id="{A36623D1-3D23-0F58-776F-2F2922A3B9F7}"/>
              </a:ext>
            </a:extLst>
          </p:cNvPr>
          <p:cNvGrpSpPr/>
          <p:nvPr/>
        </p:nvGrpSpPr>
        <p:grpSpPr>
          <a:xfrm>
            <a:off x="3987847" y="2455846"/>
            <a:ext cx="7621541" cy="276999"/>
            <a:chOff x="3987847" y="2196868"/>
            <a:chExt cx="7621541" cy="276999"/>
          </a:xfrm>
        </p:grpSpPr>
        <p:sp>
          <p:nvSpPr>
            <p:cNvPr id="21" name="TextBox 20">
              <a:extLst>
                <a:ext uri="{FF2B5EF4-FFF2-40B4-BE49-F238E27FC236}">
                  <a16:creationId xmlns:a16="http://schemas.microsoft.com/office/drawing/2014/main" id="{87ACA6E9-9681-99AA-65E6-65303BA5F10F}"/>
                </a:ext>
              </a:extLst>
            </p:cNvPr>
            <p:cNvSpPr txBox="1"/>
            <p:nvPr/>
          </p:nvSpPr>
          <p:spPr>
            <a:xfrm>
              <a:off x="4214813" y="2196868"/>
              <a:ext cx="7394575" cy="276999"/>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defTabSz="932472" fontAlgn="base">
                <a:spcBef>
                  <a:spcPct val="0"/>
                </a:spcBef>
                <a:spcAft>
                  <a:spcPct val="0"/>
                </a:spcAft>
                <a:defRPr sz="2000">
                  <a:solidFill>
                    <a:srgbClr val="FFFFFF"/>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a:solidFill>
                    <a:schemeClr val="tx1"/>
                  </a:solidFill>
                  <a:cs typeface="Segoe UI"/>
                </a:rPr>
                <a:t>Understand the ways to Integrate of Entra ID to Procurement Systems.</a:t>
              </a:r>
            </a:p>
          </p:txBody>
        </p:sp>
        <p:sp>
          <p:nvSpPr>
            <p:cNvPr id="22" name="Freeform: Shape 11">
              <a:extLst>
                <a:ext uri="{FF2B5EF4-FFF2-40B4-BE49-F238E27FC236}">
                  <a16:creationId xmlns:a16="http://schemas.microsoft.com/office/drawing/2014/main" id="{09449F40-04F6-ABB9-9A7F-8FA3A3AA7CF6}"/>
                </a:ext>
              </a:extLst>
            </p:cNvPr>
            <p:cNvSpPr>
              <a:spLocks/>
            </p:cNvSpPr>
            <p:nvPr/>
          </p:nvSpPr>
          <p:spPr bwMode="auto">
            <a:xfrm>
              <a:off x="3987847" y="2286552"/>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nvGrpSpPr>
          <p:cNvPr id="23" name="Group 22">
            <a:extLst>
              <a:ext uri="{FF2B5EF4-FFF2-40B4-BE49-F238E27FC236}">
                <a16:creationId xmlns:a16="http://schemas.microsoft.com/office/drawing/2014/main" id="{9A24B8EE-D560-1520-6402-D508AEA160A5}"/>
              </a:ext>
            </a:extLst>
          </p:cNvPr>
          <p:cNvGrpSpPr/>
          <p:nvPr/>
        </p:nvGrpSpPr>
        <p:grpSpPr>
          <a:xfrm>
            <a:off x="3987847" y="3183349"/>
            <a:ext cx="7621541" cy="276999"/>
            <a:chOff x="3987847" y="2730268"/>
            <a:chExt cx="7621541" cy="276999"/>
          </a:xfrm>
        </p:grpSpPr>
        <p:sp>
          <p:nvSpPr>
            <p:cNvPr id="24" name="TextBox 23">
              <a:extLst>
                <a:ext uri="{FF2B5EF4-FFF2-40B4-BE49-F238E27FC236}">
                  <a16:creationId xmlns:a16="http://schemas.microsoft.com/office/drawing/2014/main" id="{86B4A3BC-B5A8-2BE0-1133-3BA9CB7EDFAB}"/>
                </a:ext>
              </a:extLst>
            </p:cNvPr>
            <p:cNvSpPr txBox="1"/>
            <p:nvPr/>
          </p:nvSpPr>
          <p:spPr>
            <a:xfrm>
              <a:off x="4214813" y="2730268"/>
              <a:ext cx="7394575" cy="276999"/>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defTabSz="932472" fontAlgn="base">
                <a:spcBef>
                  <a:spcPct val="0"/>
                </a:spcBef>
                <a:spcAft>
                  <a:spcPct val="0"/>
                </a:spcAft>
                <a:defRPr sz="2000">
                  <a:solidFill>
                    <a:srgbClr val="FFFFFF"/>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a:solidFill>
                    <a:schemeClr val="tx1"/>
                  </a:solidFill>
                  <a:cs typeface="Segoe UI"/>
                </a:rPr>
                <a:t>How to </a:t>
              </a:r>
              <a:r>
                <a:rPr lang="en-US" sz="1800">
                  <a:ea typeface="+mn-lt"/>
                  <a:cs typeface="+mn-lt"/>
                </a:rPr>
                <a:t>Set up a Private Azure Marketplace.</a:t>
              </a:r>
              <a:endParaRPr lang="en-US" sz="1800">
                <a:solidFill>
                  <a:schemeClr val="tx1"/>
                </a:solidFill>
                <a:cs typeface="Segoe UI"/>
              </a:endParaRPr>
            </a:p>
          </p:txBody>
        </p:sp>
        <p:sp>
          <p:nvSpPr>
            <p:cNvPr id="25" name="Freeform: Shape 11">
              <a:extLst>
                <a:ext uri="{FF2B5EF4-FFF2-40B4-BE49-F238E27FC236}">
                  <a16:creationId xmlns:a16="http://schemas.microsoft.com/office/drawing/2014/main" id="{5843A920-1A98-FC76-90A2-BAB5C9934C2A}"/>
                </a:ext>
              </a:extLst>
            </p:cNvPr>
            <p:cNvSpPr>
              <a:spLocks/>
            </p:cNvSpPr>
            <p:nvPr/>
          </p:nvSpPr>
          <p:spPr bwMode="auto">
            <a:xfrm>
              <a:off x="3987847" y="2819952"/>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nvGrpSpPr>
          <p:cNvPr id="26" name="Group 25">
            <a:extLst>
              <a:ext uri="{FF2B5EF4-FFF2-40B4-BE49-F238E27FC236}">
                <a16:creationId xmlns:a16="http://schemas.microsoft.com/office/drawing/2014/main" id="{5F45A99C-0F08-B917-C9A0-7C536D1D90BB}"/>
              </a:ext>
            </a:extLst>
          </p:cNvPr>
          <p:cNvGrpSpPr/>
          <p:nvPr/>
        </p:nvGrpSpPr>
        <p:grpSpPr>
          <a:xfrm>
            <a:off x="3987847" y="4043689"/>
            <a:ext cx="7621541" cy="276999"/>
            <a:chOff x="3987847" y="3187468"/>
            <a:chExt cx="7621541" cy="276999"/>
          </a:xfrm>
        </p:grpSpPr>
        <p:sp>
          <p:nvSpPr>
            <p:cNvPr id="27" name="TextBox 26">
              <a:extLst>
                <a:ext uri="{FF2B5EF4-FFF2-40B4-BE49-F238E27FC236}">
                  <a16:creationId xmlns:a16="http://schemas.microsoft.com/office/drawing/2014/main" id="{9ADD736A-323E-6575-0C10-C5BD32DE5235}"/>
                </a:ext>
              </a:extLst>
            </p:cNvPr>
            <p:cNvSpPr txBox="1"/>
            <p:nvPr/>
          </p:nvSpPr>
          <p:spPr>
            <a:xfrm>
              <a:off x="4214813" y="3187468"/>
              <a:ext cx="7394575" cy="276999"/>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defTabSz="932472" fontAlgn="base">
                <a:spcBef>
                  <a:spcPct val="0"/>
                </a:spcBef>
                <a:spcAft>
                  <a:spcPct val="0"/>
                </a:spcAft>
                <a:defRPr sz="2000">
                  <a:solidFill>
                    <a:srgbClr val="FFFFFF"/>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a:solidFill>
                    <a:schemeClr val="tx1"/>
                  </a:solidFill>
                  <a:cs typeface="Segoe UI"/>
                </a:rPr>
                <a:t>How to </a:t>
              </a:r>
              <a:r>
                <a:rPr lang="en-US" sz="1800">
                  <a:ea typeface="+mn-lt"/>
                  <a:cs typeface="+mn-lt"/>
                </a:rPr>
                <a:t>Create purchasing permissions and resource limits. </a:t>
              </a:r>
              <a:endParaRPr lang="en-US"/>
            </a:p>
          </p:txBody>
        </p:sp>
        <p:sp>
          <p:nvSpPr>
            <p:cNvPr id="28" name="Freeform: Shape 11">
              <a:extLst>
                <a:ext uri="{FF2B5EF4-FFF2-40B4-BE49-F238E27FC236}">
                  <a16:creationId xmlns:a16="http://schemas.microsoft.com/office/drawing/2014/main" id="{660F54D9-F7C0-B6C5-1B75-003EF71FE117}"/>
                </a:ext>
              </a:extLst>
            </p:cNvPr>
            <p:cNvSpPr>
              <a:spLocks/>
            </p:cNvSpPr>
            <p:nvPr/>
          </p:nvSpPr>
          <p:spPr bwMode="auto">
            <a:xfrm>
              <a:off x="3987847" y="3277152"/>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aphicFrame>
        <p:nvGraphicFramePr>
          <p:cNvPr id="3" name="Object 2" hidden="1">
            <a:extLst>
              <a:ext uri="{FF2B5EF4-FFF2-40B4-BE49-F238E27FC236}">
                <a16:creationId xmlns:a16="http://schemas.microsoft.com/office/drawing/2014/main" id="{91CED119-E761-2C7A-CBFF-8BECA8755C7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91CED119-E761-2C7A-CBFF-8BECA8755C7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B9AEBD2-4AD6-4182-BF38-A3DE71D14CCF}"/>
              </a:ext>
            </a:extLst>
          </p:cNvPr>
          <p:cNvSpPr>
            <a:spLocks noGrp="1"/>
          </p:cNvSpPr>
          <p:nvPr>
            <p:ph type="title"/>
          </p:nvPr>
        </p:nvSpPr>
        <p:spPr/>
        <p:txBody>
          <a:bodyPr/>
          <a:lstStyle/>
          <a:p>
            <a:r>
              <a:rPr lang="en-US">
                <a:solidFill>
                  <a:schemeClr val="bg1"/>
                </a:solidFill>
              </a:rPr>
              <a:t>Summary</a:t>
            </a:r>
          </a:p>
        </p:txBody>
      </p:sp>
      <p:sp>
        <p:nvSpPr>
          <p:cNvPr id="4" name="Education" title="Icon of a rolled paper with a ribbon stamped on it">
            <a:extLst>
              <a:ext uri="{FF2B5EF4-FFF2-40B4-BE49-F238E27FC236}">
                <a16:creationId xmlns:a16="http://schemas.microsoft.com/office/drawing/2014/main" id="{19877CA7-EF8C-C5D6-5447-374FC3F4BD36}"/>
              </a:ext>
            </a:extLst>
          </p:cNvPr>
          <p:cNvSpPr>
            <a:spLocks noChangeAspect="1" noEditPoints="1"/>
          </p:cNvSpPr>
          <p:nvPr/>
        </p:nvSpPr>
        <p:spPr bwMode="auto">
          <a:xfrm>
            <a:off x="3941889" y="1225373"/>
            <a:ext cx="189546" cy="189546"/>
          </a:xfrm>
          <a:custGeom>
            <a:avLst/>
            <a:gdLst>
              <a:gd name="T0" fmla="*/ 35 w 350"/>
              <a:gd name="T1" fmla="*/ 350 h 350"/>
              <a:gd name="T2" fmla="*/ 10 w 350"/>
              <a:gd name="T3" fmla="*/ 340 h 350"/>
              <a:gd name="T4" fmla="*/ 0 w 350"/>
              <a:gd name="T5" fmla="*/ 315 h 350"/>
              <a:gd name="T6" fmla="*/ 10 w 350"/>
              <a:gd name="T7" fmla="*/ 290 h 350"/>
              <a:gd name="T8" fmla="*/ 35 w 350"/>
              <a:gd name="T9" fmla="*/ 280 h 350"/>
              <a:gd name="T10" fmla="*/ 175 w 350"/>
              <a:gd name="T11" fmla="*/ 280 h 350"/>
              <a:gd name="T12" fmla="*/ 245 w 350"/>
              <a:gd name="T13" fmla="*/ 280 h 350"/>
              <a:gd name="T14" fmla="*/ 220 w 350"/>
              <a:gd name="T15" fmla="*/ 290 h 350"/>
              <a:gd name="T16" fmla="*/ 210 w 350"/>
              <a:gd name="T17" fmla="*/ 315 h 350"/>
              <a:gd name="T18" fmla="*/ 220 w 350"/>
              <a:gd name="T19" fmla="*/ 340 h 350"/>
              <a:gd name="T20" fmla="*/ 245 w 350"/>
              <a:gd name="T21" fmla="*/ 350 h 350"/>
              <a:gd name="T22" fmla="*/ 280 w 350"/>
              <a:gd name="T23" fmla="*/ 70 h 350"/>
              <a:gd name="T24" fmla="*/ 315 w 350"/>
              <a:gd name="T25" fmla="*/ 70 h 350"/>
              <a:gd name="T26" fmla="*/ 350 w 350"/>
              <a:gd name="T27" fmla="*/ 35 h 350"/>
              <a:gd name="T28" fmla="*/ 315 w 350"/>
              <a:gd name="T29" fmla="*/ 0 h 350"/>
              <a:gd name="T30" fmla="*/ 280 w 350"/>
              <a:gd name="T31" fmla="*/ 35 h 350"/>
              <a:gd name="T32" fmla="*/ 280 w 350"/>
              <a:gd name="T33" fmla="*/ 222 h 350"/>
              <a:gd name="T34" fmla="*/ 314 w 350"/>
              <a:gd name="T35" fmla="*/ 0 h 350"/>
              <a:gd name="T36" fmla="*/ 82 w 350"/>
              <a:gd name="T37" fmla="*/ 0 h 350"/>
              <a:gd name="T38" fmla="*/ 47 w 350"/>
              <a:gd name="T39" fmla="*/ 35 h 350"/>
              <a:gd name="T40" fmla="*/ 47 w 350"/>
              <a:gd name="T41" fmla="*/ 268 h 350"/>
              <a:gd name="T42" fmla="*/ 280 w 350"/>
              <a:gd name="T43" fmla="*/ 222 h 350"/>
              <a:gd name="T44" fmla="*/ 280 w 350"/>
              <a:gd name="T45" fmla="*/ 315 h 350"/>
              <a:gd name="T46" fmla="*/ 35 w 350"/>
              <a:gd name="T47" fmla="*/ 350 h 350"/>
              <a:gd name="T48" fmla="*/ 245 w 350"/>
              <a:gd name="T49" fmla="*/ 350 h 350"/>
              <a:gd name="T50" fmla="*/ 280 w 350"/>
              <a:gd name="T51" fmla="*/ 315 h 350"/>
              <a:gd name="T52" fmla="*/ 82 w 350"/>
              <a:gd name="T53" fmla="*/ 70 h 350"/>
              <a:gd name="T54" fmla="*/ 245 w 350"/>
              <a:gd name="T55" fmla="*/ 70 h 350"/>
              <a:gd name="T56" fmla="*/ 82 w 350"/>
              <a:gd name="T57" fmla="*/ 117 h 350"/>
              <a:gd name="T58" fmla="*/ 128 w 350"/>
              <a:gd name="T59" fmla="*/ 117 h 350"/>
              <a:gd name="T60" fmla="*/ 82 w 350"/>
              <a:gd name="T61" fmla="*/ 163 h 350"/>
              <a:gd name="T62" fmla="*/ 128 w 350"/>
              <a:gd name="T63" fmla="*/ 163 h 350"/>
              <a:gd name="T64" fmla="*/ 82 w 350"/>
              <a:gd name="T65" fmla="*/ 210 h 350"/>
              <a:gd name="T66" fmla="*/ 128 w 350"/>
              <a:gd name="T67" fmla="*/ 210 h 350"/>
              <a:gd name="T68" fmla="*/ 163 w 350"/>
              <a:gd name="T69" fmla="*/ 152 h 350"/>
              <a:gd name="T70" fmla="*/ 163 w 350"/>
              <a:gd name="T71" fmla="*/ 245 h 350"/>
              <a:gd name="T72" fmla="*/ 198 w 350"/>
              <a:gd name="T73" fmla="*/ 228 h 350"/>
              <a:gd name="T74" fmla="*/ 233 w 350"/>
              <a:gd name="T75" fmla="*/ 245 h 350"/>
              <a:gd name="T76" fmla="*/ 233 w 350"/>
              <a:gd name="T77" fmla="*/ 152 h 350"/>
              <a:gd name="T78" fmla="*/ 198 w 350"/>
              <a:gd name="T79" fmla="*/ 117 h 350"/>
              <a:gd name="T80" fmla="*/ 163 w 350"/>
              <a:gd name="T81" fmla="*/ 152 h 350"/>
              <a:gd name="T82" fmla="*/ 198 w 350"/>
              <a:gd name="T83" fmla="*/ 187 h 350"/>
              <a:gd name="T84" fmla="*/ 233 w 350"/>
              <a:gd name="T85" fmla="*/ 152 h 350"/>
              <a:gd name="T86" fmla="*/ 198 w 350"/>
              <a:gd name="T87" fmla="*/ 117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0" h="350">
                <a:moveTo>
                  <a:pt x="35" y="350"/>
                </a:moveTo>
                <a:cubicBezTo>
                  <a:pt x="25" y="350"/>
                  <a:pt x="17" y="346"/>
                  <a:pt x="10" y="340"/>
                </a:cubicBezTo>
                <a:cubicBezTo>
                  <a:pt x="4" y="333"/>
                  <a:pt x="0" y="325"/>
                  <a:pt x="0" y="315"/>
                </a:cubicBezTo>
                <a:cubicBezTo>
                  <a:pt x="0" y="305"/>
                  <a:pt x="4" y="297"/>
                  <a:pt x="10" y="290"/>
                </a:cubicBezTo>
                <a:cubicBezTo>
                  <a:pt x="17" y="284"/>
                  <a:pt x="25" y="280"/>
                  <a:pt x="35" y="280"/>
                </a:cubicBezTo>
                <a:cubicBezTo>
                  <a:pt x="175" y="280"/>
                  <a:pt x="175" y="280"/>
                  <a:pt x="175" y="280"/>
                </a:cubicBezTo>
                <a:cubicBezTo>
                  <a:pt x="245" y="280"/>
                  <a:pt x="245" y="280"/>
                  <a:pt x="245" y="280"/>
                </a:cubicBezTo>
                <a:cubicBezTo>
                  <a:pt x="235" y="280"/>
                  <a:pt x="227" y="284"/>
                  <a:pt x="220" y="290"/>
                </a:cubicBezTo>
                <a:cubicBezTo>
                  <a:pt x="214" y="297"/>
                  <a:pt x="210" y="305"/>
                  <a:pt x="210" y="315"/>
                </a:cubicBezTo>
                <a:cubicBezTo>
                  <a:pt x="210" y="325"/>
                  <a:pt x="214" y="333"/>
                  <a:pt x="220" y="340"/>
                </a:cubicBezTo>
                <a:cubicBezTo>
                  <a:pt x="227" y="346"/>
                  <a:pt x="235" y="350"/>
                  <a:pt x="245" y="350"/>
                </a:cubicBezTo>
                <a:moveTo>
                  <a:pt x="280" y="70"/>
                </a:moveTo>
                <a:cubicBezTo>
                  <a:pt x="315" y="70"/>
                  <a:pt x="315" y="70"/>
                  <a:pt x="315" y="70"/>
                </a:cubicBezTo>
                <a:cubicBezTo>
                  <a:pt x="334" y="70"/>
                  <a:pt x="350" y="54"/>
                  <a:pt x="350" y="35"/>
                </a:cubicBezTo>
                <a:cubicBezTo>
                  <a:pt x="350" y="16"/>
                  <a:pt x="334" y="0"/>
                  <a:pt x="315" y="0"/>
                </a:cubicBezTo>
                <a:cubicBezTo>
                  <a:pt x="296" y="0"/>
                  <a:pt x="280" y="16"/>
                  <a:pt x="280" y="35"/>
                </a:cubicBezTo>
                <a:cubicBezTo>
                  <a:pt x="280" y="222"/>
                  <a:pt x="280" y="222"/>
                  <a:pt x="280" y="222"/>
                </a:cubicBezTo>
                <a:moveTo>
                  <a:pt x="314" y="0"/>
                </a:moveTo>
                <a:cubicBezTo>
                  <a:pt x="82" y="0"/>
                  <a:pt x="82" y="0"/>
                  <a:pt x="82" y="0"/>
                </a:cubicBezTo>
                <a:cubicBezTo>
                  <a:pt x="62" y="0"/>
                  <a:pt x="47" y="16"/>
                  <a:pt x="47" y="35"/>
                </a:cubicBezTo>
                <a:cubicBezTo>
                  <a:pt x="47" y="268"/>
                  <a:pt x="47" y="268"/>
                  <a:pt x="47" y="268"/>
                </a:cubicBezTo>
                <a:moveTo>
                  <a:pt x="280" y="222"/>
                </a:moveTo>
                <a:cubicBezTo>
                  <a:pt x="280" y="315"/>
                  <a:pt x="280" y="315"/>
                  <a:pt x="280" y="315"/>
                </a:cubicBezTo>
                <a:moveTo>
                  <a:pt x="35" y="350"/>
                </a:moveTo>
                <a:cubicBezTo>
                  <a:pt x="245" y="350"/>
                  <a:pt x="245" y="350"/>
                  <a:pt x="245" y="350"/>
                </a:cubicBezTo>
                <a:cubicBezTo>
                  <a:pt x="264" y="350"/>
                  <a:pt x="280" y="334"/>
                  <a:pt x="280" y="315"/>
                </a:cubicBezTo>
                <a:moveTo>
                  <a:pt x="82" y="70"/>
                </a:moveTo>
                <a:cubicBezTo>
                  <a:pt x="245" y="70"/>
                  <a:pt x="245" y="70"/>
                  <a:pt x="245" y="70"/>
                </a:cubicBezTo>
                <a:moveTo>
                  <a:pt x="82" y="117"/>
                </a:moveTo>
                <a:cubicBezTo>
                  <a:pt x="128" y="117"/>
                  <a:pt x="128" y="117"/>
                  <a:pt x="128" y="117"/>
                </a:cubicBezTo>
                <a:moveTo>
                  <a:pt x="82" y="163"/>
                </a:moveTo>
                <a:cubicBezTo>
                  <a:pt x="128" y="163"/>
                  <a:pt x="128" y="163"/>
                  <a:pt x="128" y="163"/>
                </a:cubicBezTo>
                <a:moveTo>
                  <a:pt x="82" y="210"/>
                </a:moveTo>
                <a:cubicBezTo>
                  <a:pt x="128" y="210"/>
                  <a:pt x="128" y="210"/>
                  <a:pt x="128" y="210"/>
                </a:cubicBezTo>
                <a:moveTo>
                  <a:pt x="163" y="152"/>
                </a:moveTo>
                <a:cubicBezTo>
                  <a:pt x="163" y="245"/>
                  <a:pt x="163" y="245"/>
                  <a:pt x="163" y="245"/>
                </a:cubicBezTo>
                <a:cubicBezTo>
                  <a:pt x="198" y="228"/>
                  <a:pt x="198" y="228"/>
                  <a:pt x="198" y="228"/>
                </a:cubicBezTo>
                <a:cubicBezTo>
                  <a:pt x="233" y="245"/>
                  <a:pt x="233" y="245"/>
                  <a:pt x="233" y="245"/>
                </a:cubicBezTo>
                <a:cubicBezTo>
                  <a:pt x="233" y="152"/>
                  <a:pt x="233" y="152"/>
                  <a:pt x="233" y="152"/>
                </a:cubicBezTo>
                <a:moveTo>
                  <a:pt x="198" y="117"/>
                </a:moveTo>
                <a:cubicBezTo>
                  <a:pt x="179" y="117"/>
                  <a:pt x="163" y="132"/>
                  <a:pt x="163" y="152"/>
                </a:cubicBezTo>
                <a:cubicBezTo>
                  <a:pt x="163" y="171"/>
                  <a:pt x="179" y="187"/>
                  <a:pt x="198" y="187"/>
                </a:cubicBezTo>
                <a:cubicBezTo>
                  <a:pt x="218" y="187"/>
                  <a:pt x="233" y="171"/>
                  <a:pt x="233" y="152"/>
                </a:cubicBezTo>
                <a:cubicBezTo>
                  <a:pt x="233" y="132"/>
                  <a:pt x="218" y="117"/>
                  <a:pt x="198" y="117"/>
                </a:cubicBezTo>
                <a:close/>
              </a:path>
            </a:pathLst>
          </a:custGeom>
          <a:noFill/>
          <a:ln w="12700" cap="sq">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526514887"/>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9D9F342-393A-4EEC-ACDC-769401575698}"/>
              </a:ext>
            </a:extLst>
          </p:cNvPr>
          <p:cNvSpPr>
            <a:spLocks noGrp="1"/>
          </p:cNvSpPr>
          <p:nvPr>
            <p:ph type="title"/>
          </p:nvPr>
        </p:nvSpPr>
        <p:spPr/>
        <p:txBody>
          <a:bodyPr/>
          <a:lstStyle/>
          <a:p>
            <a:r>
              <a:rPr lang="en-US"/>
              <a:t>Thank you!</a:t>
            </a:r>
          </a:p>
        </p:txBody>
      </p:sp>
      <p:sp>
        <p:nvSpPr>
          <p:cNvPr id="5" name="Text Placeholder 4">
            <a:extLst>
              <a:ext uri="{FF2B5EF4-FFF2-40B4-BE49-F238E27FC236}">
                <a16:creationId xmlns:a16="http://schemas.microsoft.com/office/drawing/2014/main" id="{023E8919-57F9-43F7-9C69-EDABB71D9508}"/>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792240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A48A981-3140-6AC4-D0CA-5CAF5DC138C6}"/>
              </a:ext>
            </a:extLst>
          </p:cNvPr>
          <p:cNvGraphicFramePr>
            <a:graphicFrameLocks noChangeAspect="1"/>
          </p:cNvGraphicFramePr>
          <p:nvPr>
            <p:custDataLst>
              <p:tags r:id="rId1"/>
            </p:custDataLst>
            <p:extLst>
              <p:ext uri="{D42A27DB-BD31-4B8C-83A1-F6EECF244321}">
                <p14:modId xmlns:p14="http://schemas.microsoft.com/office/powerpoint/2010/main" val="28126440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8" name="Object 7" hidden="1">
                        <a:extLst>
                          <a:ext uri="{FF2B5EF4-FFF2-40B4-BE49-F238E27FC236}">
                            <a16:creationId xmlns:a16="http://schemas.microsoft.com/office/drawing/2014/main" id="{7A48A981-3140-6AC4-D0CA-5CAF5DC138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E58BE030-79FF-4488-898B-E95C08ACEBDD}"/>
              </a:ext>
            </a:extLst>
          </p:cNvPr>
          <p:cNvSpPr>
            <a:spLocks noGrp="1"/>
          </p:cNvSpPr>
          <p:nvPr>
            <p:ph type="title"/>
          </p:nvPr>
        </p:nvSpPr>
        <p:spPr/>
        <p:txBody>
          <a:bodyPr vert="horz"/>
          <a:lstStyle/>
          <a:p>
            <a:r>
              <a:rPr lang="en-US"/>
              <a:t>Introduction</a:t>
            </a:r>
          </a:p>
        </p:txBody>
      </p:sp>
      <p:sp>
        <p:nvSpPr>
          <p:cNvPr id="52" name="TextBox 51" hidden="1">
            <a:extLst>
              <a:ext uri="{FF2B5EF4-FFF2-40B4-BE49-F238E27FC236}">
                <a16:creationId xmlns:a16="http://schemas.microsoft.com/office/drawing/2014/main" id="{2446E439-D2F8-1B07-878F-60B3205FFA6C}"/>
              </a:ext>
            </a:extLst>
          </p:cNvPr>
          <p:cNvSpPr txBox="1"/>
          <p:nvPr/>
        </p:nvSpPr>
        <p:spPr>
          <a:xfrm>
            <a:off x="2043260" y="3106616"/>
            <a:ext cx="6386660" cy="369332"/>
          </a:xfrm>
          <a:prstGeom prst="rect">
            <a:avLst/>
          </a:prstGeom>
          <a:noFill/>
        </p:spPr>
        <p:txBody>
          <a:bodyPr wrap="square">
            <a:spAutoFit/>
          </a:bodyPr>
          <a:lstStyle/>
          <a:p>
            <a:pPr marL="0" marR="0" lvl="1" algn="l" defTabSz="914367" rtl="0" eaLnBrk="1" fontAlgn="auto" latinLnBrk="0" hangingPunct="1">
              <a:lnSpc>
                <a:spcPct val="100000"/>
              </a:lnSpc>
              <a:spcBef>
                <a:spcPts val="392"/>
              </a:spcBef>
              <a:spcAft>
                <a:spcPts val="588"/>
              </a:spcAft>
              <a:buClrTx/>
              <a:buSzPct val="90000"/>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16" name="TextBox 115" hidden="1">
            <a:extLst>
              <a:ext uri="{FF2B5EF4-FFF2-40B4-BE49-F238E27FC236}">
                <a16:creationId xmlns:a16="http://schemas.microsoft.com/office/drawing/2014/main" id="{2C1980F8-8846-72C7-6174-16147896272D}"/>
              </a:ext>
            </a:extLst>
          </p:cNvPr>
          <p:cNvSpPr txBox="1"/>
          <p:nvPr/>
        </p:nvSpPr>
        <p:spPr>
          <a:xfrm>
            <a:off x="598714" y="2714222"/>
            <a:ext cx="11010674" cy="369332"/>
          </a:xfrm>
          <a:prstGeom prst="rect">
            <a:avLst/>
          </a:prstGeom>
          <a:noFill/>
        </p:spPr>
        <p:txBody>
          <a:bodyPr wrap="square">
            <a:spAutoFit/>
          </a:bodyPr>
          <a:lstStyle/>
          <a:p>
            <a:pPr marL="0" marR="0" lvl="1" algn="l" defTabSz="914367" rtl="0" eaLnBrk="1" fontAlgn="auto" latinLnBrk="0" hangingPunct="1">
              <a:lnSpc>
                <a:spcPct val="100000"/>
              </a:lnSpc>
              <a:spcBef>
                <a:spcPts val="392"/>
              </a:spcBef>
              <a:spcAft>
                <a:spcPts val="588"/>
              </a:spcAft>
              <a:buClrTx/>
              <a:buSzPct val="90000"/>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nvGrpSpPr>
          <p:cNvPr id="81" name="Group 80">
            <a:extLst>
              <a:ext uri="{FF2B5EF4-FFF2-40B4-BE49-F238E27FC236}">
                <a16:creationId xmlns:a16="http://schemas.microsoft.com/office/drawing/2014/main" id="{321B8452-40A9-D382-EC9F-31D06770B9D4}"/>
              </a:ext>
            </a:extLst>
          </p:cNvPr>
          <p:cNvGrpSpPr/>
          <p:nvPr/>
        </p:nvGrpSpPr>
        <p:grpSpPr>
          <a:xfrm>
            <a:off x="10887529" y="290989"/>
            <a:ext cx="1304471" cy="582454"/>
            <a:chOff x="10887529" y="246221"/>
            <a:chExt cx="1304471" cy="582454"/>
          </a:xfrm>
        </p:grpSpPr>
        <p:sp>
          <p:nvSpPr>
            <p:cNvPr id="107" name="Freeform: Shape 106">
              <a:extLst>
                <a:ext uri="{FF2B5EF4-FFF2-40B4-BE49-F238E27FC236}">
                  <a16:creationId xmlns:a16="http://schemas.microsoft.com/office/drawing/2014/main" id="{EF625E51-2F7E-8F57-817B-561826BB1681}"/>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nvGrpSpPr>
            <p:cNvPr id="108" name="Group 107">
              <a:extLst>
                <a:ext uri="{FF2B5EF4-FFF2-40B4-BE49-F238E27FC236}">
                  <a16:creationId xmlns:a16="http://schemas.microsoft.com/office/drawing/2014/main" id="{A2BAB0DF-8FFE-9EB1-469E-9D875B5CE7AA}"/>
                </a:ext>
              </a:extLst>
            </p:cNvPr>
            <p:cNvGrpSpPr/>
            <p:nvPr/>
          </p:nvGrpSpPr>
          <p:grpSpPr>
            <a:xfrm>
              <a:off x="10973730" y="344238"/>
              <a:ext cx="386420" cy="386420"/>
              <a:chOff x="10338730" y="326866"/>
              <a:chExt cx="753110" cy="753110"/>
            </a:xfrm>
          </p:grpSpPr>
          <p:sp>
            <p:nvSpPr>
              <p:cNvPr id="115" name="Oval 114">
                <a:extLst>
                  <a:ext uri="{FF2B5EF4-FFF2-40B4-BE49-F238E27FC236}">
                    <a16:creationId xmlns:a16="http://schemas.microsoft.com/office/drawing/2014/main" id="{A39F282C-3007-335F-CAB3-5A2F638E6ADA}"/>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123" name="Graphic 160">
                <a:extLst>
                  <a:ext uri="{FF2B5EF4-FFF2-40B4-BE49-F238E27FC236}">
                    <a16:creationId xmlns:a16="http://schemas.microsoft.com/office/drawing/2014/main" id="{BB144FE4-EA94-97FF-CC59-8350CF38DC78}"/>
                  </a:ext>
                </a:extLst>
              </p:cNvPr>
              <p:cNvGrpSpPr/>
              <p:nvPr/>
            </p:nvGrpSpPr>
            <p:grpSpPr>
              <a:xfrm>
                <a:off x="10537246" y="449420"/>
                <a:ext cx="356078" cy="508002"/>
                <a:chOff x="7053892" y="4608173"/>
                <a:chExt cx="402719" cy="574549"/>
              </a:xfrm>
              <a:noFill/>
            </p:grpSpPr>
            <p:sp>
              <p:nvSpPr>
                <p:cNvPr id="156" name="Freeform: Shape 155">
                  <a:extLst>
                    <a:ext uri="{FF2B5EF4-FFF2-40B4-BE49-F238E27FC236}">
                      <a16:creationId xmlns:a16="http://schemas.microsoft.com/office/drawing/2014/main" id="{116BDD76-6404-E8B7-5257-C9F4C1419D95}"/>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7" name="Freeform: Shape 156">
                  <a:extLst>
                    <a:ext uri="{FF2B5EF4-FFF2-40B4-BE49-F238E27FC236}">
                      <a16:creationId xmlns:a16="http://schemas.microsoft.com/office/drawing/2014/main" id="{078C737F-B156-DD9E-6B44-0ED4AFA97078}"/>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8" name="Freeform: Shape 157">
                  <a:extLst>
                    <a:ext uri="{FF2B5EF4-FFF2-40B4-BE49-F238E27FC236}">
                      <a16:creationId xmlns:a16="http://schemas.microsoft.com/office/drawing/2014/main" id="{FBEBE025-5806-CB5A-E28D-560C61B73451}"/>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9" name="Freeform: Shape 158">
                  <a:extLst>
                    <a:ext uri="{FF2B5EF4-FFF2-40B4-BE49-F238E27FC236}">
                      <a16:creationId xmlns:a16="http://schemas.microsoft.com/office/drawing/2014/main" id="{37CB88D4-BFC0-FBCB-33B6-6658D0F774D5}"/>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0" name="Freeform: Shape 159">
                  <a:extLst>
                    <a:ext uri="{FF2B5EF4-FFF2-40B4-BE49-F238E27FC236}">
                      <a16:creationId xmlns:a16="http://schemas.microsoft.com/office/drawing/2014/main" id="{44568843-7C2D-7A7E-6603-CD3748DDFC02}"/>
                    </a:ext>
                  </a:extLst>
                </p:cNvPr>
                <p:cNvSpPr/>
                <p:nvPr/>
              </p:nvSpPr>
              <p:spPr>
                <a:xfrm>
                  <a:off x="7156858" y="4890018"/>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1" name="Freeform: Shape 160">
                  <a:extLst>
                    <a:ext uri="{FF2B5EF4-FFF2-40B4-BE49-F238E27FC236}">
                      <a16:creationId xmlns:a16="http://schemas.microsoft.com/office/drawing/2014/main" id="{881763B6-9F90-2898-EFFB-F234687A057D}"/>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2" name="Freeform: Shape 161">
                  <a:extLst>
                    <a:ext uri="{FF2B5EF4-FFF2-40B4-BE49-F238E27FC236}">
                      <a16:creationId xmlns:a16="http://schemas.microsoft.com/office/drawing/2014/main" id="{CFE9B3DC-5F0A-2ADF-EF34-24FCF40FAADE}"/>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3" name="Freeform: Shape 162">
                  <a:extLst>
                    <a:ext uri="{FF2B5EF4-FFF2-40B4-BE49-F238E27FC236}">
                      <a16:creationId xmlns:a16="http://schemas.microsoft.com/office/drawing/2014/main" id="{EFA39587-6EE9-805B-2246-0EEDE5F58CB7}"/>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164" name="Graphic 160">
                  <a:extLst>
                    <a:ext uri="{FF2B5EF4-FFF2-40B4-BE49-F238E27FC236}">
                      <a16:creationId xmlns:a16="http://schemas.microsoft.com/office/drawing/2014/main" id="{DEB4D271-C465-8B88-695E-A394C00372E0}"/>
                    </a:ext>
                  </a:extLst>
                </p:cNvPr>
                <p:cNvGrpSpPr/>
                <p:nvPr/>
              </p:nvGrpSpPr>
              <p:grpSpPr>
                <a:xfrm>
                  <a:off x="7258849" y="4914595"/>
                  <a:ext cx="197762" cy="268127"/>
                  <a:chOff x="7258849" y="4914595"/>
                  <a:chExt cx="197762" cy="268127"/>
                </a:xfrm>
                <a:noFill/>
              </p:grpSpPr>
              <p:sp>
                <p:nvSpPr>
                  <p:cNvPr id="165" name="Freeform: Shape 164">
                    <a:extLst>
                      <a:ext uri="{FF2B5EF4-FFF2-40B4-BE49-F238E27FC236}">
                        <a16:creationId xmlns:a16="http://schemas.microsoft.com/office/drawing/2014/main" id="{8E8E606D-A106-B057-5271-F4F294750499}"/>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6" name="Freeform: Shape 165">
                    <a:extLst>
                      <a:ext uri="{FF2B5EF4-FFF2-40B4-BE49-F238E27FC236}">
                        <a16:creationId xmlns:a16="http://schemas.microsoft.com/office/drawing/2014/main" id="{40C6E749-E428-901D-923F-3F052D3EF7D4}"/>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grpSp>
      <p:sp>
        <p:nvSpPr>
          <p:cNvPr id="167" name="TextBox 166">
            <a:extLst>
              <a:ext uri="{FF2B5EF4-FFF2-40B4-BE49-F238E27FC236}">
                <a16:creationId xmlns:a16="http://schemas.microsoft.com/office/drawing/2014/main" id="{D5F5558B-707E-639D-6D0D-A1F550396012}"/>
              </a:ext>
            </a:extLst>
          </p:cNvPr>
          <p:cNvSpPr txBox="1"/>
          <p:nvPr/>
        </p:nvSpPr>
        <p:spPr>
          <a:xfrm>
            <a:off x="598714" y="1327599"/>
            <a:ext cx="11008068" cy="276999"/>
          </a:xfrm>
          <a:prstGeom prst="rect">
            <a:avLst/>
          </a:prstGeom>
          <a:noFill/>
        </p:spPr>
        <p:txBody>
          <a:bodyPr wrap="square" lIns="0" tIns="0" rIns="0" bIns="0" anchor="ctr">
            <a:spAutoFit/>
          </a:bodyPr>
          <a:lstStyle/>
          <a:p>
            <a:pPr defTabSz="914367">
              <a:spcAft>
                <a:spcPts val="600"/>
              </a:spcAft>
              <a:defRPr/>
            </a:pPr>
            <a:r>
              <a:rPr lang="en-US" dirty="0"/>
              <a:t>This module will help you to understand Microsoft Marketplace and purchasing solutions. </a:t>
            </a:r>
          </a:p>
        </p:txBody>
      </p:sp>
      <p:sp>
        <p:nvSpPr>
          <p:cNvPr id="168" name="Rectangle: Top Corners Rounded 167">
            <a:extLst>
              <a:ext uri="{FF2B5EF4-FFF2-40B4-BE49-F238E27FC236}">
                <a16:creationId xmlns:a16="http://schemas.microsoft.com/office/drawing/2014/main" id="{96EEA05B-A927-80C9-25CB-73F054A9D7F5}"/>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169" name="TextBox 168">
            <a:extLst>
              <a:ext uri="{FF2B5EF4-FFF2-40B4-BE49-F238E27FC236}">
                <a16:creationId xmlns:a16="http://schemas.microsoft.com/office/drawing/2014/main" id="{17D5A210-8383-0BEC-DB4C-8AA2EC9BF961}"/>
              </a:ext>
            </a:extLst>
          </p:cNvPr>
          <p:cNvSpPr txBox="1"/>
          <p:nvPr/>
        </p:nvSpPr>
        <p:spPr>
          <a:xfrm>
            <a:off x="598714" y="1979804"/>
            <a:ext cx="5992586" cy="246221"/>
          </a:xfrm>
          <a:prstGeom prst="rect">
            <a:avLst/>
          </a:prstGeom>
          <a:noFill/>
        </p:spPr>
        <p:txBody>
          <a:bodyPr wrap="square" lIns="0" tIns="0" rIns="0" bIns="0" anchor="ctr">
            <a:spAutoFit/>
          </a:bodyPr>
          <a:lstStyle/>
          <a:p>
            <a:pPr marL="0" marR="0" lvl="0" indent="0" algn="l" defTabSz="914367" rtl="0" eaLnBrk="1" fontAlgn="auto" latinLnBrk="0" hangingPunct="1">
              <a:spcBef>
                <a:spcPts val="0"/>
              </a:spcBef>
              <a:spcAft>
                <a:spcPts val="600"/>
              </a:spcAft>
              <a:buClrTx/>
              <a:buSzTx/>
              <a:buFontTx/>
              <a:buNone/>
              <a:tabLst/>
              <a:defRPr/>
            </a:pPr>
            <a:r>
              <a:rPr lang="en-US" sz="1600" b="1">
                <a:solidFill>
                  <a:srgbClr val="000000"/>
                </a:solidFill>
              </a:rPr>
              <a:t>After completing this module, you’ll be able to:</a:t>
            </a:r>
          </a:p>
        </p:txBody>
      </p:sp>
      <p:grpSp>
        <p:nvGrpSpPr>
          <p:cNvPr id="170" name="Group 169">
            <a:extLst>
              <a:ext uri="{FF2B5EF4-FFF2-40B4-BE49-F238E27FC236}">
                <a16:creationId xmlns:a16="http://schemas.microsoft.com/office/drawing/2014/main" id="{66AF2C7F-B8D5-0641-0F45-864779267EA3}"/>
              </a:ext>
            </a:extLst>
          </p:cNvPr>
          <p:cNvGrpSpPr/>
          <p:nvPr/>
        </p:nvGrpSpPr>
        <p:grpSpPr>
          <a:xfrm>
            <a:off x="591756" y="2527336"/>
            <a:ext cx="472258" cy="472258"/>
            <a:chOff x="591756" y="2678861"/>
            <a:chExt cx="472258" cy="472258"/>
          </a:xfrm>
        </p:grpSpPr>
        <p:sp>
          <p:nvSpPr>
            <p:cNvPr id="171" name="Freeform: Shape 11">
              <a:extLst>
                <a:ext uri="{FF2B5EF4-FFF2-40B4-BE49-F238E27FC236}">
                  <a16:creationId xmlns:a16="http://schemas.microsoft.com/office/drawing/2014/main" id="{E4630324-4F3C-8E23-B346-ADADB510854F}"/>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72" name="Oval 171">
              <a:extLst>
                <a:ext uri="{FF2B5EF4-FFF2-40B4-BE49-F238E27FC236}">
                  <a16:creationId xmlns:a16="http://schemas.microsoft.com/office/drawing/2014/main" id="{40B76B24-8A87-1CE2-D460-144574C637F5}"/>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173" name="TextBox 172">
            <a:extLst>
              <a:ext uri="{FF2B5EF4-FFF2-40B4-BE49-F238E27FC236}">
                <a16:creationId xmlns:a16="http://schemas.microsoft.com/office/drawing/2014/main" id="{C0632E7C-0241-61E1-D3F4-FCB185277595}"/>
              </a:ext>
            </a:extLst>
          </p:cNvPr>
          <p:cNvSpPr txBox="1"/>
          <p:nvPr/>
        </p:nvSpPr>
        <p:spPr>
          <a:xfrm>
            <a:off x="1223358" y="2609577"/>
            <a:ext cx="10319499" cy="307777"/>
          </a:xfrm>
          <a:prstGeom prst="rect">
            <a:avLst/>
          </a:prstGeom>
          <a:noFill/>
        </p:spPr>
        <p:txBody>
          <a:bodyPr wrap="square" lIns="0" tIns="45720" rIns="91440" bIns="45720" anchor="t">
            <a:spAutoFit/>
          </a:bodyPr>
          <a:lstStyle/>
          <a:p>
            <a:pPr marL="0" lvl="1" defTabSz="914367">
              <a:spcBef>
                <a:spcPts val="392"/>
              </a:spcBef>
              <a:spcAft>
                <a:spcPts val="588"/>
              </a:spcAft>
              <a:buSzPct val="90000"/>
              <a:defRPr/>
            </a:pPr>
            <a:r>
              <a:rPr kumimoji="0" lang="en-US" sz="1400" b="0" i="0" u="none" strike="noStrike" kern="1200" cap="none" spc="0" normalizeH="0" baseline="0" noProof="0" dirty="0">
                <a:ln>
                  <a:noFill/>
                </a:ln>
                <a:effectLst/>
                <a:uLnTx/>
                <a:uFillTx/>
                <a:ea typeface="+mn-ea"/>
                <a:cs typeface="+mn-cs"/>
              </a:rPr>
              <a:t>Explain the</a:t>
            </a:r>
            <a:r>
              <a:rPr lang="en-US" sz="1400" dirty="0"/>
              <a:t> use and benefits of Microsoft Marketplace</a:t>
            </a:r>
            <a:r>
              <a:rPr kumimoji="0" lang="en-US" sz="1400" b="0" i="0" u="none" strike="noStrike" kern="1200" cap="none" spc="0" normalizeH="0" baseline="0" noProof="0" dirty="0">
                <a:ln>
                  <a:noFill/>
                </a:ln>
                <a:effectLst/>
                <a:uLnTx/>
                <a:uFillTx/>
                <a:ea typeface="+mn-ea"/>
                <a:cs typeface="+mn-cs"/>
              </a:rPr>
              <a:t>.</a:t>
            </a:r>
          </a:p>
        </p:txBody>
      </p:sp>
      <p:grpSp>
        <p:nvGrpSpPr>
          <p:cNvPr id="178" name="Group 177">
            <a:extLst>
              <a:ext uri="{FF2B5EF4-FFF2-40B4-BE49-F238E27FC236}">
                <a16:creationId xmlns:a16="http://schemas.microsoft.com/office/drawing/2014/main" id="{40737460-0857-FBA2-1445-C4FB2F8D30A9}"/>
              </a:ext>
            </a:extLst>
          </p:cNvPr>
          <p:cNvGrpSpPr/>
          <p:nvPr/>
        </p:nvGrpSpPr>
        <p:grpSpPr>
          <a:xfrm>
            <a:off x="591756" y="3347014"/>
            <a:ext cx="472258" cy="472258"/>
            <a:chOff x="4863419" y="201635"/>
            <a:chExt cx="1828800" cy="1828800"/>
          </a:xfrm>
        </p:grpSpPr>
        <p:sp>
          <p:nvSpPr>
            <p:cNvPr id="179" name="Freeform: Shape 11">
              <a:extLst>
                <a:ext uri="{FF2B5EF4-FFF2-40B4-BE49-F238E27FC236}">
                  <a16:creationId xmlns:a16="http://schemas.microsoft.com/office/drawing/2014/main" id="{B96C28F6-BDD5-2862-6CAD-9812B662B955}"/>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80" name="Oval 179">
              <a:extLst>
                <a:ext uri="{FF2B5EF4-FFF2-40B4-BE49-F238E27FC236}">
                  <a16:creationId xmlns:a16="http://schemas.microsoft.com/office/drawing/2014/main" id="{91E6ABDB-24DD-1756-BAC0-AF41FB69346D}"/>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181" name="TextBox 180">
            <a:extLst>
              <a:ext uri="{FF2B5EF4-FFF2-40B4-BE49-F238E27FC236}">
                <a16:creationId xmlns:a16="http://schemas.microsoft.com/office/drawing/2014/main" id="{C01E1DF7-AFB3-BF3D-96A2-20CDD0FB59FE}"/>
              </a:ext>
            </a:extLst>
          </p:cNvPr>
          <p:cNvSpPr txBox="1"/>
          <p:nvPr/>
        </p:nvSpPr>
        <p:spPr>
          <a:xfrm>
            <a:off x="1223358" y="3429255"/>
            <a:ext cx="10319499" cy="307777"/>
          </a:xfrm>
          <a:prstGeom prst="rect">
            <a:avLst/>
          </a:prstGeom>
          <a:noFill/>
        </p:spPr>
        <p:txBody>
          <a:bodyPr wrap="square" lIns="0" tIns="45720" rIns="91440" bIns="45720" anchor="t">
            <a:spAutoFit/>
          </a:bodyPr>
          <a:lstStyle/>
          <a:p>
            <a:pPr marL="0" lvl="1" defTabSz="914367">
              <a:spcBef>
                <a:spcPts val="392"/>
              </a:spcBef>
              <a:spcAft>
                <a:spcPts val="588"/>
              </a:spcAft>
              <a:buSzPct val="90000"/>
              <a:defRPr/>
            </a:pPr>
            <a:r>
              <a:rPr kumimoji="0" lang="en-US" sz="1400" b="0" i="0" u="none" strike="noStrike" kern="1200" cap="none" spc="0" normalizeH="0" baseline="0" noProof="0" dirty="0">
                <a:ln>
                  <a:noFill/>
                </a:ln>
                <a:effectLst/>
                <a:uLnTx/>
                <a:uFillTx/>
                <a:ea typeface="+mn-ea"/>
                <a:cs typeface="+mn-cs"/>
              </a:rPr>
              <a:t>Understand the </a:t>
            </a:r>
            <a:r>
              <a:rPr lang="en-US" sz="1400" dirty="0"/>
              <a:t>ways to purchase solutions through Marketplace</a:t>
            </a:r>
            <a:r>
              <a:rPr kumimoji="0" lang="en-US" sz="1400" b="0" i="0" u="none" strike="noStrike" kern="1200" cap="none" spc="0" normalizeH="0" baseline="0" noProof="0" dirty="0">
                <a:ln>
                  <a:noFill/>
                </a:ln>
                <a:effectLst/>
                <a:uLnTx/>
                <a:uFillTx/>
                <a:ea typeface="+mn-ea"/>
                <a:cs typeface="+mn-cs"/>
              </a:rPr>
              <a:t>.</a:t>
            </a:r>
          </a:p>
        </p:txBody>
      </p:sp>
      <p:grpSp>
        <p:nvGrpSpPr>
          <p:cNvPr id="182" name="Group 181">
            <a:extLst>
              <a:ext uri="{FF2B5EF4-FFF2-40B4-BE49-F238E27FC236}">
                <a16:creationId xmlns:a16="http://schemas.microsoft.com/office/drawing/2014/main" id="{6BA9BF5C-0994-6343-FC3E-35B9E3BCCE17}"/>
              </a:ext>
            </a:extLst>
          </p:cNvPr>
          <p:cNvGrpSpPr/>
          <p:nvPr/>
        </p:nvGrpSpPr>
        <p:grpSpPr>
          <a:xfrm>
            <a:off x="591756" y="4166692"/>
            <a:ext cx="472258" cy="472258"/>
            <a:chOff x="4863419" y="201635"/>
            <a:chExt cx="1828800" cy="1828800"/>
          </a:xfrm>
        </p:grpSpPr>
        <p:sp>
          <p:nvSpPr>
            <p:cNvPr id="183" name="Freeform: Shape 11">
              <a:extLst>
                <a:ext uri="{FF2B5EF4-FFF2-40B4-BE49-F238E27FC236}">
                  <a16:creationId xmlns:a16="http://schemas.microsoft.com/office/drawing/2014/main" id="{085CA696-0F06-D052-DC60-EDD399BDD160}"/>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84" name="Oval 183">
              <a:extLst>
                <a:ext uri="{FF2B5EF4-FFF2-40B4-BE49-F238E27FC236}">
                  <a16:creationId xmlns:a16="http://schemas.microsoft.com/office/drawing/2014/main" id="{3A8BA9DE-FF09-6E77-6F35-1F1B794FA115}"/>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185" name="TextBox 184">
            <a:extLst>
              <a:ext uri="{FF2B5EF4-FFF2-40B4-BE49-F238E27FC236}">
                <a16:creationId xmlns:a16="http://schemas.microsoft.com/office/drawing/2014/main" id="{7CA9D89B-B694-6F39-9E6F-1CA0F13592F6}"/>
              </a:ext>
            </a:extLst>
          </p:cNvPr>
          <p:cNvSpPr txBox="1"/>
          <p:nvPr/>
        </p:nvSpPr>
        <p:spPr>
          <a:xfrm>
            <a:off x="1223358" y="4248933"/>
            <a:ext cx="10319499" cy="307777"/>
          </a:xfrm>
          <a:prstGeom prst="rect">
            <a:avLst/>
          </a:prstGeom>
          <a:noFill/>
        </p:spPr>
        <p:txBody>
          <a:bodyPr wrap="square" lIns="0" tIns="45720" rIns="91440" bIns="45720" anchor="t">
            <a:spAutoFit/>
          </a:bodyPr>
          <a:lstStyle/>
          <a:p>
            <a:pPr marL="0" lvl="1" defTabSz="914367">
              <a:spcBef>
                <a:spcPts val="392"/>
              </a:spcBef>
              <a:spcAft>
                <a:spcPts val="588"/>
              </a:spcAft>
              <a:buSzPct val="90000"/>
              <a:defRPr/>
            </a:pPr>
            <a:r>
              <a:rPr lang="en-US" sz="1400" dirty="0"/>
              <a:t>Use the Marketplace to purchase Azure resources</a:t>
            </a:r>
            <a:r>
              <a:rPr kumimoji="0" lang="en-US" sz="1400" b="0" i="0" u="none" strike="noStrike" kern="1200" cap="none" spc="0" normalizeH="0" baseline="0" noProof="0" dirty="0">
                <a:ln>
                  <a:noFill/>
                </a:ln>
                <a:effectLst/>
                <a:uLnTx/>
                <a:uFillTx/>
                <a:ea typeface="+mn-ea"/>
                <a:cs typeface="+mn-cs"/>
              </a:rPr>
              <a:t>.</a:t>
            </a:r>
          </a:p>
        </p:txBody>
      </p:sp>
      <p:sp>
        <p:nvSpPr>
          <p:cNvPr id="186" name="TextBox 185">
            <a:extLst>
              <a:ext uri="{FF2B5EF4-FFF2-40B4-BE49-F238E27FC236}">
                <a16:creationId xmlns:a16="http://schemas.microsoft.com/office/drawing/2014/main" id="{2C77C621-8B24-9C01-BABF-AEA4AF1AAF56}"/>
              </a:ext>
            </a:extLst>
          </p:cNvPr>
          <p:cNvSpPr txBox="1"/>
          <p:nvPr/>
        </p:nvSpPr>
        <p:spPr>
          <a:xfrm>
            <a:off x="1223358" y="5068611"/>
            <a:ext cx="10319499" cy="307777"/>
          </a:xfrm>
          <a:prstGeom prst="rect">
            <a:avLst/>
          </a:prstGeom>
          <a:noFill/>
        </p:spPr>
        <p:txBody>
          <a:bodyPr wrap="square" lIns="0" tIns="45720" rIns="91440" bIns="45720" anchor="t">
            <a:spAutoFit/>
          </a:bodyPr>
          <a:lstStyle/>
          <a:p>
            <a:pPr marL="0" lvl="1" defTabSz="914367">
              <a:spcBef>
                <a:spcPts val="392"/>
              </a:spcBef>
              <a:spcAft>
                <a:spcPts val="588"/>
              </a:spcAft>
              <a:buSzPct val="90000"/>
              <a:defRPr/>
            </a:pPr>
            <a:r>
              <a:rPr lang="en-US" sz="1400" dirty="0"/>
              <a:t>Use </a:t>
            </a:r>
            <a:r>
              <a:rPr kumimoji="0" lang="en-US" sz="1400" b="0" i="0" u="none" strike="noStrike" kern="1200" cap="none" spc="0" normalizeH="0" baseline="0" noProof="0" dirty="0">
                <a:ln>
                  <a:noFill/>
                </a:ln>
                <a:effectLst/>
                <a:uLnTx/>
                <a:uFillTx/>
                <a:ea typeface="+mn-ea"/>
                <a:cs typeface="+mn-cs"/>
              </a:rPr>
              <a:t>the </a:t>
            </a:r>
            <a:r>
              <a:rPr lang="en-US" sz="1400" dirty="0"/>
              <a:t>Marketplace to purchase SaaS applications</a:t>
            </a:r>
            <a:r>
              <a:rPr kumimoji="0" lang="en-US" sz="1400" b="0" i="0" u="none" strike="noStrike" kern="1200" cap="none" spc="0" normalizeH="0" baseline="0" noProof="0" dirty="0">
                <a:ln>
                  <a:noFill/>
                </a:ln>
                <a:effectLst/>
                <a:uLnTx/>
                <a:uFillTx/>
                <a:ea typeface="+mn-ea"/>
                <a:cs typeface="+mn-cs"/>
              </a:rPr>
              <a:t>.</a:t>
            </a:r>
          </a:p>
        </p:txBody>
      </p:sp>
      <p:grpSp>
        <p:nvGrpSpPr>
          <p:cNvPr id="187" name="Group 186">
            <a:extLst>
              <a:ext uri="{FF2B5EF4-FFF2-40B4-BE49-F238E27FC236}">
                <a16:creationId xmlns:a16="http://schemas.microsoft.com/office/drawing/2014/main" id="{2438C725-C676-09F8-2290-8FC55FB8AFCC}"/>
              </a:ext>
            </a:extLst>
          </p:cNvPr>
          <p:cNvGrpSpPr/>
          <p:nvPr/>
        </p:nvGrpSpPr>
        <p:grpSpPr>
          <a:xfrm>
            <a:off x="591756" y="4986370"/>
            <a:ext cx="472258" cy="472258"/>
            <a:chOff x="4863419" y="201635"/>
            <a:chExt cx="1828800" cy="1828800"/>
          </a:xfrm>
        </p:grpSpPr>
        <p:sp>
          <p:nvSpPr>
            <p:cNvPr id="188" name="Freeform: Shape 11">
              <a:extLst>
                <a:ext uri="{FF2B5EF4-FFF2-40B4-BE49-F238E27FC236}">
                  <a16:creationId xmlns:a16="http://schemas.microsoft.com/office/drawing/2014/main" id="{4C1977C9-0756-100F-D4D1-7D26DFCD5B88}"/>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89" name="Oval 188">
              <a:extLst>
                <a:ext uri="{FF2B5EF4-FFF2-40B4-BE49-F238E27FC236}">
                  <a16:creationId xmlns:a16="http://schemas.microsoft.com/office/drawing/2014/main" id="{FF7CF58B-62EA-942E-621E-69CB2B787D43}"/>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190" name="TextBox 189">
            <a:extLst>
              <a:ext uri="{FF2B5EF4-FFF2-40B4-BE49-F238E27FC236}">
                <a16:creationId xmlns:a16="http://schemas.microsoft.com/office/drawing/2014/main" id="{8C2E0BB3-B0A3-DD4D-435A-54DA558FC4BD}"/>
              </a:ext>
            </a:extLst>
          </p:cNvPr>
          <p:cNvSpPr txBox="1"/>
          <p:nvPr/>
        </p:nvSpPr>
        <p:spPr>
          <a:xfrm>
            <a:off x="1223358" y="5888290"/>
            <a:ext cx="10319499" cy="307777"/>
          </a:xfrm>
          <a:prstGeom prst="rect">
            <a:avLst/>
          </a:prstGeom>
          <a:noFill/>
        </p:spPr>
        <p:txBody>
          <a:bodyPr wrap="square" lIns="0" tIns="45720" rIns="91440" bIns="45720" anchor="t">
            <a:spAutoFit/>
          </a:bodyPr>
          <a:lstStyle/>
          <a:p>
            <a:pPr marL="0" lvl="1" defTabSz="914367">
              <a:spcBef>
                <a:spcPts val="392"/>
              </a:spcBef>
              <a:spcAft>
                <a:spcPts val="588"/>
              </a:spcAft>
              <a:buSzPct val="90000"/>
              <a:defRPr/>
            </a:pPr>
            <a:r>
              <a:rPr lang="en-US" sz="1400" dirty="0"/>
              <a:t>Deploy resources and applications from the Marketplace</a:t>
            </a:r>
            <a:r>
              <a:rPr kumimoji="0" lang="en-US" sz="1400" b="0" i="0" u="none" strike="noStrike" kern="1200" cap="none" spc="0" normalizeH="0" baseline="0" noProof="0" dirty="0">
                <a:ln>
                  <a:noFill/>
                </a:ln>
                <a:effectLst/>
                <a:uLnTx/>
                <a:uFillTx/>
                <a:ea typeface="+mn-ea"/>
                <a:cs typeface="+mn-cs"/>
              </a:rPr>
              <a:t>.</a:t>
            </a:r>
          </a:p>
        </p:txBody>
      </p:sp>
      <p:grpSp>
        <p:nvGrpSpPr>
          <p:cNvPr id="191" name="Group 190">
            <a:extLst>
              <a:ext uri="{FF2B5EF4-FFF2-40B4-BE49-F238E27FC236}">
                <a16:creationId xmlns:a16="http://schemas.microsoft.com/office/drawing/2014/main" id="{49CBE76B-E140-3F65-F34E-9AD314B2C9BD}"/>
              </a:ext>
            </a:extLst>
          </p:cNvPr>
          <p:cNvGrpSpPr/>
          <p:nvPr/>
        </p:nvGrpSpPr>
        <p:grpSpPr>
          <a:xfrm>
            <a:off x="591756" y="5806049"/>
            <a:ext cx="472258" cy="472258"/>
            <a:chOff x="4863419" y="201635"/>
            <a:chExt cx="1828800" cy="1828800"/>
          </a:xfrm>
        </p:grpSpPr>
        <p:sp>
          <p:nvSpPr>
            <p:cNvPr id="192" name="Freeform: Shape 11">
              <a:extLst>
                <a:ext uri="{FF2B5EF4-FFF2-40B4-BE49-F238E27FC236}">
                  <a16:creationId xmlns:a16="http://schemas.microsoft.com/office/drawing/2014/main" id="{4B896699-E3F9-D9C2-6648-523068D775A1}"/>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93" name="Oval 192">
              <a:extLst>
                <a:ext uri="{FF2B5EF4-FFF2-40B4-BE49-F238E27FC236}">
                  <a16:creationId xmlns:a16="http://schemas.microsoft.com/office/drawing/2014/main" id="{EFA95857-720A-7382-AF76-CAD550F4D92E}"/>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2" name="people_11" title="Icon of two people with a chat bubble">
            <a:extLst>
              <a:ext uri="{FF2B5EF4-FFF2-40B4-BE49-F238E27FC236}">
                <a16:creationId xmlns:a16="http://schemas.microsoft.com/office/drawing/2014/main" id="{111CC050-3CAD-7ABB-7330-7380DDE10CA3}"/>
              </a:ext>
            </a:extLst>
          </p:cNvPr>
          <p:cNvSpPr>
            <a:spLocks noChangeAspect="1" noEditPoints="1"/>
          </p:cNvSpPr>
          <p:nvPr/>
        </p:nvSpPr>
        <p:spPr bwMode="auto">
          <a:xfrm>
            <a:off x="713361" y="2653486"/>
            <a:ext cx="229048" cy="219958"/>
          </a:xfrm>
          <a:custGeom>
            <a:avLst/>
            <a:gdLst>
              <a:gd name="T0" fmla="*/ 72 w 348"/>
              <a:gd name="T1" fmla="*/ 196 h 334"/>
              <a:gd name="T2" fmla="*/ 128 w 348"/>
              <a:gd name="T3" fmla="*/ 140 h 334"/>
              <a:gd name="T4" fmla="*/ 184 w 348"/>
              <a:gd name="T5" fmla="*/ 196 h 334"/>
              <a:gd name="T6" fmla="*/ 128 w 348"/>
              <a:gd name="T7" fmla="*/ 252 h 334"/>
              <a:gd name="T8" fmla="*/ 72 w 348"/>
              <a:gd name="T9" fmla="*/ 196 h 334"/>
              <a:gd name="T10" fmla="*/ 210 w 348"/>
              <a:gd name="T11" fmla="*/ 334 h 334"/>
              <a:gd name="T12" fmla="*/ 128 w 348"/>
              <a:gd name="T13" fmla="*/ 252 h 334"/>
              <a:gd name="T14" fmla="*/ 47 w 348"/>
              <a:gd name="T15" fmla="*/ 334 h 334"/>
              <a:gd name="T16" fmla="*/ 265 w 348"/>
              <a:gd name="T17" fmla="*/ 118 h 334"/>
              <a:gd name="T18" fmla="*/ 321 w 348"/>
              <a:gd name="T19" fmla="*/ 62 h 334"/>
              <a:gd name="T20" fmla="*/ 265 w 348"/>
              <a:gd name="T21" fmla="*/ 6 h 334"/>
              <a:gd name="T22" fmla="*/ 209 w 348"/>
              <a:gd name="T23" fmla="*/ 62 h 334"/>
              <a:gd name="T24" fmla="*/ 265 w 348"/>
              <a:gd name="T25" fmla="*/ 118 h 334"/>
              <a:gd name="T26" fmla="*/ 348 w 348"/>
              <a:gd name="T27" fmla="*/ 200 h 334"/>
              <a:gd name="T28" fmla="*/ 266 w 348"/>
              <a:gd name="T29" fmla="*/ 118 h 334"/>
              <a:gd name="T30" fmla="*/ 184 w 348"/>
              <a:gd name="T31" fmla="*/ 200 h 334"/>
              <a:gd name="T32" fmla="*/ 141 w 348"/>
              <a:gd name="T33" fmla="*/ 71 h 334"/>
              <a:gd name="T34" fmla="*/ 141 w 348"/>
              <a:gd name="T35" fmla="*/ 31 h 334"/>
              <a:gd name="T36" fmla="*/ 110 w 348"/>
              <a:gd name="T37" fmla="*/ 0 h 334"/>
              <a:gd name="T38" fmla="*/ 29 w 348"/>
              <a:gd name="T39" fmla="*/ 0 h 334"/>
              <a:gd name="T40" fmla="*/ 29 w 348"/>
              <a:gd name="T41" fmla="*/ 0 h 334"/>
              <a:gd name="T42" fmla="*/ 0 w 348"/>
              <a:gd name="T43" fmla="*/ 31 h 334"/>
              <a:gd name="T44" fmla="*/ 0 w 348"/>
              <a:gd name="T45" fmla="*/ 71 h 334"/>
              <a:gd name="T46" fmla="*/ 0 w 348"/>
              <a:gd name="T47" fmla="*/ 71 h 334"/>
              <a:gd name="T48" fmla="*/ 29 w 348"/>
              <a:gd name="T49" fmla="*/ 102 h 334"/>
              <a:gd name="T50" fmla="*/ 29 w 348"/>
              <a:gd name="T51" fmla="*/ 102 h 334"/>
              <a:gd name="T52" fmla="*/ 110 w 348"/>
              <a:gd name="T53" fmla="*/ 102 h 334"/>
              <a:gd name="T54" fmla="*/ 179 w 348"/>
              <a:gd name="T55" fmla="*/ 102 h 334"/>
              <a:gd name="T56" fmla="*/ 141 w 348"/>
              <a:gd name="T57" fmla="*/ 71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8" h="334">
                <a:moveTo>
                  <a:pt x="72" y="196"/>
                </a:moveTo>
                <a:cubicBezTo>
                  <a:pt x="72" y="165"/>
                  <a:pt x="97" y="140"/>
                  <a:pt x="128" y="140"/>
                </a:cubicBezTo>
                <a:cubicBezTo>
                  <a:pt x="159" y="140"/>
                  <a:pt x="184" y="165"/>
                  <a:pt x="184" y="196"/>
                </a:cubicBezTo>
                <a:cubicBezTo>
                  <a:pt x="184" y="227"/>
                  <a:pt x="159" y="252"/>
                  <a:pt x="128" y="252"/>
                </a:cubicBezTo>
                <a:cubicBezTo>
                  <a:pt x="97" y="252"/>
                  <a:pt x="72" y="227"/>
                  <a:pt x="72" y="196"/>
                </a:cubicBezTo>
                <a:close/>
                <a:moveTo>
                  <a:pt x="210" y="334"/>
                </a:moveTo>
                <a:cubicBezTo>
                  <a:pt x="210" y="289"/>
                  <a:pt x="173" y="252"/>
                  <a:pt x="128" y="252"/>
                </a:cubicBezTo>
                <a:cubicBezTo>
                  <a:pt x="83" y="252"/>
                  <a:pt x="47" y="289"/>
                  <a:pt x="47" y="334"/>
                </a:cubicBezTo>
                <a:moveTo>
                  <a:pt x="265" y="118"/>
                </a:moveTo>
                <a:cubicBezTo>
                  <a:pt x="296" y="118"/>
                  <a:pt x="321" y="93"/>
                  <a:pt x="321" y="62"/>
                </a:cubicBezTo>
                <a:cubicBezTo>
                  <a:pt x="321" y="31"/>
                  <a:pt x="296" y="6"/>
                  <a:pt x="265" y="6"/>
                </a:cubicBezTo>
                <a:cubicBezTo>
                  <a:pt x="234" y="6"/>
                  <a:pt x="209" y="31"/>
                  <a:pt x="209" y="62"/>
                </a:cubicBezTo>
                <a:cubicBezTo>
                  <a:pt x="209" y="93"/>
                  <a:pt x="234" y="118"/>
                  <a:pt x="265" y="118"/>
                </a:cubicBezTo>
                <a:close/>
                <a:moveTo>
                  <a:pt x="348" y="200"/>
                </a:moveTo>
                <a:cubicBezTo>
                  <a:pt x="348" y="155"/>
                  <a:pt x="311" y="118"/>
                  <a:pt x="266" y="118"/>
                </a:cubicBezTo>
                <a:cubicBezTo>
                  <a:pt x="221" y="118"/>
                  <a:pt x="184" y="155"/>
                  <a:pt x="184" y="200"/>
                </a:cubicBezTo>
                <a:moveTo>
                  <a:pt x="141" y="71"/>
                </a:moveTo>
                <a:cubicBezTo>
                  <a:pt x="141" y="31"/>
                  <a:pt x="141" y="31"/>
                  <a:pt x="141" y="31"/>
                </a:cubicBezTo>
                <a:cubicBezTo>
                  <a:pt x="141" y="14"/>
                  <a:pt x="127" y="0"/>
                  <a:pt x="110" y="0"/>
                </a:cubicBezTo>
                <a:cubicBezTo>
                  <a:pt x="29" y="0"/>
                  <a:pt x="29" y="0"/>
                  <a:pt x="29" y="0"/>
                </a:cubicBezTo>
                <a:cubicBezTo>
                  <a:pt x="29" y="0"/>
                  <a:pt x="29" y="0"/>
                  <a:pt x="29" y="0"/>
                </a:cubicBezTo>
                <a:cubicBezTo>
                  <a:pt x="13" y="1"/>
                  <a:pt x="0" y="15"/>
                  <a:pt x="0" y="31"/>
                </a:cubicBezTo>
                <a:cubicBezTo>
                  <a:pt x="0" y="71"/>
                  <a:pt x="0" y="71"/>
                  <a:pt x="0" y="71"/>
                </a:cubicBezTo>
                <a:cubicBezTo>
                  <a:pt x="0" y="71"/>
                  <a:pt x="0" y="71"/>
                  <a:pt x="0" y="71"/>
                </a:cubicBezTo>
                <a:cubicBezTo>
                  <a:pt x="0" y="88"/>
                  <a:pt x="13" y="101"/>
                  <a:pt x="29" y="102"/>
                </a:cubicBezTo>
                <a:cubicBezTo>
                  <a:pt x="29" y="102"/>
                  <a:pt x="29" y="102"/>
                  <a:pt x="29" y="102"/>
                </a:cubicBezTo>
                <a:cubicBezTo>
                  <a:pt x="110" y="102"/>
                  <a:pt x="110" y="102"/>
                  <a:pt x="110" y="102"/>
                </a:cubicBezTo>
                <a:cubicBezTo>
                  <a:pt x="179" y="102"/>
                  <a:pt x="179" y="102"/>
                  <a:pt x="179" y="102"/>
                </a:cubicBezTo>
                <a:lnTo>
                  <a:pt x="141" y="71"/>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 name="Org_ECA6" title="Icon of three boxes in a bracket chart">
            <a:extLst>
              <a:ext uri="{FF2B5EF4-FFF2-40B4-BE49-F238E27FC236}">
                <a16:creationId xmlns:a16="http://schemas.microsoft.com/office/drawing/2014/main" id="{C83D7859-A1CC-571E-B95D-E28BBB5C003D}"/>
              </a:ext>
            </a:extLst>
          </p:cNvPr>
          <p:cNvSpPr>
            <a:spLocks noChangeAspect="1" noEditPoints="1"/>
          </p:cNvSpPr>
          <p:nvPr/>
        </p:nvSpPr>
        <p:spPr bwMode="auto">
          <a:xfrm>
            <a:off x="727082" y="3482291"/>
            <a:ext cx="201606" cy="201704"/>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CRMArticles_EFF5" title="Icon of two documents stacked together with writing on them">
            <a:extLst>
              <a:ext uri="{FF2B5EF4-FFF2-40B4-BE49-F238E27FC236}">
                <a16:creationId xmlns:a16="http://schemas.microsoft.com/office/drawing/2014/main" id="{24DB0124-FCFB-C3B4-F94B-7C0ABB7DD8CB}"/>
              </a:ext>
            </a:extLst>
          </p:cNvPr>
          <p:cNvSpPr>
            <a:spLocks noChangeAspect="1" noEditPoints="1"/>
          </p:cNvSpPr>
          <p:nvPr/>
        </p:nvSpPr>
        <p:spPr bwMode="auto">
          <a:xfrm>
            <a:off x="731845" y="4291958"/>
            <a:ext cx="192080" cy="221726"/>
          </a:xfrm>
          <a:custGeom>
            <a:avLst/>
            <a:gdLst>
              <a:gd name="T0" fmla="*/ 551 w 3583"/>
              <a:gd name="T1" fmla="*/ 3585 h 4136"/>
              <a:gd name="T2" fmla="*/ 0 w 3583"/>
              <a:gd name="T3" fmla="*/ 3585 h 4136"/>
              <a:gd name="T4" fmla="*/ 0 w 3583"/>
              <a:gd name="T5" fmla="*/ 0 h 4136"/>
              <a:gd name="T6" fmla="*/ 3033 w 3583"/>
              <a:gd name="T7" fmla="*/ 0 h 4136"/>
              <a:gd name="T8" fmla="*/ 3033 w 3583"/>
              <a:gd name="T9" fmla="*/ 1103 h 4136"/>
              <a:gd name="T10" fmla="*/ 2480 w 3583"/>
              <a:gd name="T11" fmla="*/ 551 h 4136"/>
              <a:gd name="T12" fmla="*/ 2480 w 3583"/>
              <a:gd name="T13" fmla="*/ 1654 h 4136"/>
              <a:gd name="T14" fmla="*/ 3583 w 3583"/>
              <a:gd name="T15" fmla="*/ 1654 h 4136"/>
              <a:gd name="T16" fmla="*/ 3583 w 3583"/>
              <a:gd name="T17" fmla="*/ 1654 h 4136"/>
              <a:gd name="T18" fmla="*/ 2480 w 3583"/>
              <a:gd name="T19" fmla="*/ 551 h 4136"/>
              <a:gd name="T20" fmla="*/ 551 w 3583"/>
              <a:gd name="T21" fmla="*/ 551 h 4136"/>
              <a:gd name="T22" fmla="*/ 551 w 3583"/>
              <a:gd name="T23" fmla="*/ 4136 h 4136"/>
              <a:gd name="T24" fmla="*/ 3583 w 3583"/>
              <a:gd name="T25" fmla="*/ 4136 h 4136"/>
              <a:gd name="T26" fmla="*/ 3583 w 3583"/>
              <a:gd name="T27" fmla="*/ 1654 h 4136"/>
              <a:gd name="T28" fmla="*/ 965 w 3583"/>
              <a:gd name="T29" fmla="*/ 2757 h 4136"/>
              <a:gd name="T30" fmla="*/ 2894 w 3583"/>
              <a:gd name="T31" fmla="*/ 2757 h 4136"/>
              <a:gd name="T32" fmla="*/ 965 w 3583"/>
              <a:gd name="T33" fmla="*/ 2206 h 4136"/>
              <a:gd name="T34" fmla="*/ 2894 w 3583"/>
              <a:gd name="T35" fmla="*/ 2206 h 4136"/>
              <a:gd name="T36" fmla="*/ 965 w 3583"/>
              <a:gd name="T37" fmla="*/ 1654 h 4136"/>
              <a:gd name="T38" fmla="*/ 2068 w 3583"/>
              <a:gd name="T39" fmla="*/ 1654 h 4136"/>
              <a:gd name="T40" fmla="*/ 965 w 3583"/>
              <a:gd name="T41" fmla="*/ 1103 h 4136"/>
              <a:gd name="T42" fmla="*/ 2068 w 3583"/>
              <a:gd name="T43" fmla="*/ 1103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3" h="4136">
                <a:moveTo>
                  <a:pt x="551" y="3585"/>
                </a:moveTo>
                <a:lnTo>
                  <a:pt x="0" y="3585"/>
                </a:lnTo>
                <a:lnTo>
                  <a:pt x="0" y="0"/>
                </a:lnTo>
                <a:lnTo>
                  <a:pt x="3033" y="0"/>
                </a:lnTo>
                <a:lnTo>
                  <a:pt x="3033" y="1103"/>
                </a:lnTo>
                <a:moveTo>
                  <a:pt x="2480" y="551"/>
                </a:moveTo>
                <a:lnTo>
                  <a:pt x="2480" y="1654"/>
                </a:lnTo>
                <a:lnTo>
                  <a:pt x="3583" y="1654"/>
                </a:lnTo>
                <a:moveTo>
                  <a:pt x="3583" y="1654"/>
                </a:moveTo>
                <a:lnTo>
                  <a:pt x="2480" y="551"/>
                </a:lnTo>
                <a:lnTo>
                  <a:pt x="551" y="551"/>
                </a:lnTo>
                <a:lnTo>
                  <a:pt x="551" y="4136"/>
                </a:lnTo>
                <a:lnTo>
                  <a:pt x="3583" y="4136"/>
                </a:lnTo>
                <a:lnTo>
                  <a:pt x="3583" y="1654"/>
                </a:lnTo>
                <a:moveTo>
                  <a:pt x="965" y="2757"/>
                </a:moveTo>
                <a:lnTo>
                  <a:pt x="2894" y="2757"/>
                </a:lnTo>
                <a:moveTo>
                  <a:pt x="965" y="2206"/>
                </a:moveTo>
                <a:lnTo>
                  <a:pt x="2894" y="2206"/>
                </a:lnTo>
                <a:moveTo>
                  <a:pt x="965" y="1654"/>
                </a:moveTo>
                <a:lnTo>
                  <a:pt x="2068" y="1654"/>
                </a:lnTo>
                <a:moveTo>
                  <a:pt x="965" y="1103"/>
                </a:moveTo>
                <a:lnTo>
                  <a:pt x="2068" y="1103"/>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Graphic 72">
            <a:extLst>
              <a:ext uri="{FF2B5EF4-FFF2-40B4-BE49-F238E27FC236}">
                <a16:creationId xmlns:a16="http://schemas.microsoft.com/office/drawing/2014/main" id="{FA23373D-B2D5-E173-01C2-CDA8EAD30FD0}"/>
              </a:ext>
            </a:extLst>
          </p:cNvPr>
          <p:cNvSpPr/>
          <p:nvPr/>
        </p:nvSpPr>
        <p:spPr>
          <a:xfrm>
            <a:off x="750895" y="5127683"/>
            <a:ext cx="153980" cy="189632"/>
          </a:xfrm>
          <a:custGeom>
            <a:avLst/>
            <a:gdLst>
              <a:gd name="connsiteX0" fmla="*/ 387001 w 773906"/>
              <a:gd name="connsiteY0" fmla="*/ 253079 h 953095"/>
              <a:gd name="connsiteX1" fmla="*/ 0 w 773906"/>
              <a:gd name="connsiteY1" fmla="*/ 126587 h 953095"/>
              <a:gd name="connsiteX2" fmla="*/ 387001 w 773906"/>
              <a:gd name="connsiteY2" fmla="*/ 0 h 953095"/>
              <a:gd name="connsiteX3" fmla="*/ 773906 w 773906"/>
              <a:gd name="connsiteY3" fmla="*/ 126587 h 953095"/>
              <a:gd name="connsiteX4" fmla="*/ 387001 w 773906"/>
              <a:gd name="connsiteY4" fmla="*/ 253079 h 953095"/>
              <a:gd name="connsiteX5" fmla="*/ 0 w 773906"/>
              <a:gd name="connsiteY5" fmla="*/ 227171 h 953095"/>
              <a:gd name="connsiteX6" fmla="*/ 0 w 773906"/>
              <a:gd name="connsiteY6" fmla="*/ 401860 h 953095"/>
              <a:gd name="connsiteX7" fmla="*/ 387001 w 773906"/>
              <a:gd name="connsiteY7" fmla="*/ 491204 h 953095"/>
              <a:gd name="connsiteX8" fmla="*/ 773906 w 773906"/>
              <a:gd name="connsiteY8" fmla="*/ 401860 h 953095"/>
              <a:gd name="connsiteX9" fmla="*/ 773906 w 773906"/>
              <a:gd name="connsiteY9" fmla="*/ 227171 h 953095"/>
              <a:gd name="connsiteX10" fmla="*/ 0 w 773906"/>
              <a:gd name="connsiteY10" fmla="*/ 481394 h 953095"/>
              <a:gd name="connsiteX11" fmla="*/ 0 w 773906"/>
              <a:gd name="connsiteY11" fmla="*/ 639985 h 953095"/>
              <a:gd name="connsiteX12" fmla="*/ 387001 w 773906"/>
              <a:gd name="connsiteY12" fmla="*/ 729329 h 953095"/>
              <a:gd name="connsiteX13" fmla="*/ 773906 w 773906"/>
              <a:gd name="connsiteY13" fmla="*/ 639985 h 953095"/>
              <a:gd name="connsiteX14" fmla="*/ 773906 w 773906"/>
              <a:gd name="connsiteY14" fmla="*/ 481394 h 953095"/>
              <a:gd name="connsiteX15" fmla="*/ 0 w 773906"/>
              <a:gd name="connsiteY15" fmla="*/ 719519 h 953095"/>
              <a:gd name="connsiteX16" fmla="*/ 0 w 773906"/>
              <a:gd name="connsiteY16" fmla="*/ 830294 h 953095"/>
              <a:gd name="connsiteX17" fmla="*/ 773906 w 773906"/>
              <a:gd name="connsiteY17" fmla="*/ 830294 h 953095"/>
              <a:gd name="connsiteX18" fmla="*/ 773906 w 773906"/>
              <a:gd name="connsiteY18" fmla="*/ 719519 h 953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73906" h="953095">
                <a:moveTo>
                  <a:pt x="387001" y="253079"/>
                </a:moveTo>
                <a:cubicBezTo>
                  <a:pt x="173260" y="253079"/>
                  <a:pt x="0" y="196405"/>
                  <a:pt x="0" y="126587"/>
                </a:cubicBezTo>
                <a:cubicBezTo>
                  <a:pt x="0" y="56769"/>
                  <a:pt x="173260" y="0"/>
                  <a:pt x="387001" y="0"/>
                </a:cubicBezTo>
                <a:cubicBezTo>
                  <a:pt x="600742" y="0"/>
                  <a:pt x="773906" y="56769"/>
                  <a:pt x="773906" y="126587"/>
                </a:cubicBezTo>
                <a:cubicBezTo>
                  <a:pt x="773906" y="196405"/>
                  <a:pt x="600742" y="253079"/>
                  <a:pt x="387001" y="253079"/>
                </a:cubicBezTo>
                <a:close/>
                <a:moveTo>
                  <a:pt x="0" y="227171"/>
                </a:moveTo>
                <a:lnTo>
                  <a:pt x="0" y="401860"/>
                </a:lnTo>
                <a:cubicBezTo>
                  <a:pt x="0" y="428530"/>
                  <a:pt x="131731" y="491204"/>
                  <a:pt x="387001" y="491204"/>
                </a:cubicBezTo>
                <a:cubicBezTo>
                  <a:pt x="642271" y="491204"/>
                  <a:pt x="773906" y="428530"/>
                  <a:pt x="773906" y="401860"/>
                </a:cubicBezTo>
                <a:lnTo>
                  <a:pt x="773906" y="227171"/>
                </a:lnTo>
                <a:moveTo>
                  <a:pt x="0" y="481394"/>
                </a:moveTo>
                <a:lnTo>
                  <a:pt x="0" y="639985"/>
                </a:lnTo>
                <a:cubicBezTo>
                  <a:pt x="0" y="666655"/>
                  <a:pt x="131731" y="729329"/>
                  <a:pt x="387001" y="729329"/>
                </a:cubicBezTo>
                <a:cubicBezTo>
                  <a:pt x="642271" y="729329"/>
                  <a:pt x="773906" y="666655"/>
                  <a:pt x="773906" y="639985"/>
                </a:cubicBezTo>
                <a:lnTo>
                  <a:pt x="773906" y="481394"/>
                </a:lnTo>
                <a:moveTo>
                  <a:pt x="0" y="719519"/>
                </a:moveTo>
                <a:lnTo>
                  <a:pt x="0" y="830294"/>
                </a:lnTo>
                <a:cubicBezTo>
                  <a:pt x="0" y="994029"/>
                  <a:pt x="773906" y="994029"/>
                  <a:pt x="773906" y="830294"/>
                </a:cubicBezTo>
                <a:lnTo>
                  <a:pt x="773906" y="719519"/>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sp>
        <p:nvSpPr>
          <p:cNvPr id="6" name="tool" title="Icon of a skrewdriver and wrench">
            <a:extLst>
              <a:ext uri="{FF2B5EF4-FFF2-40B4-BE49-F238E27FC236}">
                <a16:creationId xmlns:a16="http://schemas.microsoft.com/office/drawing/2014/main" id="{C42D0583-5BCD-D8C7-1AB8-991C89EF87CB}"/>
              </a:ext>
            </a:extLst>
          </p:cNvPr>
          <p:cNvSpPr>
            <a:spLocks noChangeAspect="1" noEditPoints="1"/>
          </p:cNvSpPr>
          <p:nvPr/>
        </p:nvSpPr>
        <p:spPr bwMode="auto">
          <a:xfrm>
            <a:off x="743541" y="5923371"/>
            <a:ext cx="168688" cy="237614"/>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644458694"/>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397CD5-183A-B74F-0D26-9D89FF7C3903}"/>
              </a:ext>
            </a:extLst>
          </p:cNvPr>
          <p:cNvSpPr>
            <a:spLocks noGrp="1"/>
          </p:cNvSpPr>
          <p:nvPr>
            <p:ph type="title"/>
          </p:nvPr>
        </p:nvSpPr>
        <p:spPr/>
        <p:txBody>
          <a:bodyPr/>
          <a:lstStyle/>
          <a:p>
            <a:r>
              <a:rPr lang="en-US">
                <a:cs typeface="Segoe UI"/>
              </a:rPr>
              <a:t>Introduction to Marketplace (60 minutes)</a:t>
            </a:r>
            <a:endParaRPr lang="en-US"/>
          </a:p>
        </p:txBody>
      </p:sp>
    </p:spTree>
    <p:extLst>
      <p:ext uri="{BB962C8B-B14F-4D97-AF65-F5344CB8AC3E}">
        <p14:creationId xmlns:p14="http://schemas.microsoft.com/office/powerpoint/2010/main" val="3948585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18A146-7202-24EA-7B4D-99C422D5DB3F}"/>
              </a:ext>
            </a:extLst>
          </p:cNvPr>
          <p:cNvSpPr>
            <a:spLocks noGrp="1"/>
          </p:cNvSpPr>
          <p:nvPr>
            <p:ph type="title"/>
          </p:nvPr>
        </p:nvSpPr>
        <p:spPr/>
        <p:txBody>
          <a:bodyPr/>
          <a:lstStyle/>
          <a:p>
            <a:r>
              <a:rPr lang="en-US" dirty="0">
                <a:cs typeface="Segoe UI"/>
              </a:rPr>
              <a:t>What is the Microsoft Marketplace?</a:t>
            </a:r>
            <a:endParaRPr lang="en-US" dirty="0"/>
          </a:p>
        </p:txBody>
      </p:sp>
      <p:sp>
        <p:nvSpPr>
          <p:cNvPr id="3" name="Content Placeholder 2">
            <a:extLst>
              <a:ext uri="{FF2B5EF4-FFF2-40B4-BE49-F238E27FC236}">
                <a16:creationId xmlns:a16="http://schemas.microsoft.com/office/drawing/2014/main" id="{8810F879-0D52-6206-A283-CE7E0B7E3C5D}"/>
              </a:ext>
            </a:extLst>
          </p:cNvPr>
          <p:cNvSpPr>
            <a:spLocks noGrp="1"/>
          </p:cNvSpPr>
          <p:nvPr>
            <p:ph sz="quarter" idx="10"/>
          </p:nvPr>
        </p:nvSpPr>
        <p:spPr>
          <a:xfrm>
            <a:off x="584200" y="1435100"/>
            <a:ext cx="11018838" cy="2720745"/>
          </a:xfrm>
        </p:spPr>
        <p:txBody>
          <a:bodyPr vert="horz" wrap="square" lIns="0" tIns="0" rIns="0" bIns="0" rtlCol="0" anchor="t">
            <a:spAutoFit/>
          </a:bodyPr>
          <a:lstStyle/>
          <a:p>
            <a:r>
              <a:rPr lang="en-US" dirty="0">
                <a:cs typeface="Segoe UI"/>
              </a:rPr>
              <a:t>Cloud-based</a:t>
            </a:r>
          </a:p>
          <a:p>
            <a:r>
              <a:rPr lang="en-US" dirty="0">
                <a:cs typeface="Segoe UI"/>
              </a:rPr>
              <a:t>On-demand</a:t>
            </a:r>
          </a:p>
          <a:p>
            <a:r>
              <a:rPr lang="en-US" dirty="0">
                <a:cs typeface="Segoe UI"/>
              </a:rPr>
              <a:t>Microsoft services</a:t>
            </a:r>
            <a:endParaRPr lang="en-US" dirty="0"/>
          </a:p>
          <a:p>
            <a:r>
              <a:rPr lang="en-US" dirty="0">
                <a:cs typeface="Segoe UI"/>
              </a:rPr>
              <a:t>Third-party Microsoft partner solutions</a:t>
            </a:r>
          </a:p>
          <a:p>
            <a:pPr lvl="1"/>
            <a:r>
              <a:rPr lang="en-US" dirty="0">
                <a:cs typeface="Segoe UI"/>
              </a:rPr>
              <a:t>Independent software vendor (ISV) partners</a:t>
            </a:r>
          </a:p>
          <a:p>
            <a:pPr lvl="1"/>
            <a:r>
              <a:rPr lang="en-US" dirty="0">
                <a:cs typeface="Segoe UI"/>
              </a:rPr>
              <a:t>Global system integrators (GSI) partners – for consulting and managed services</a:t>
            </a:r>
          </a:p>
        </p:txBody>
      </p:sp>
    </p:spTree>
    <p:extLst>
      <p:ext uri="{BB962C8B-B14F-4D97-AF65-F5344CB8AC3E}">
        <p14:creationId xmlns:p14="http://schemas.microsoft.com/office/powerpoint/2010/main" val="94813622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18A146-7202-24EA-7B4D-99C422D5DB3F}"/>
              </a:ext>
            </a:extLst>
          </p:cNvPr>
          <p:cNvSpPr>
            <a:spLocks noGrp="1"/>
          </p:cNvSpPr>
          <p:nvPr>
            <p:ph type="title"/>
          </p:nvPr>
        </p:nvSpPr>
        <p:spPr>
          <a:xfrm>
            <a:off x="588263" y="457200"/>
            <a:ext cx="11018520" cy="553998"/>
          </a:xfrm>
        </p:spPr>
        <p:txBody>
          <a:bodyPr wrap="square" anchor="t">
            <a:normAutofit/>
          </a:bodyPr>
          <a:lstStyle/>
          <a:p>
            <a:r>
              <a:rPr lang="en-US"/>
              <a:t>Who uses Azure Marketplace?</a:t>
            </a:r>
          </a:p>
        </p:txBody>
      </p:sp>
      <p:graphicFrame>
        <p:nvGraphicFramePr>
          <p:cNvPr id="5" name="Content Placeholder 2">
            <a:extLst>
              <a:ext uri="{FF2B5EF4-FFF2-40B4-BE49-F238E27FC236}">
                <a16:creationId xmlns:a16="http://schemas.microsoft.com/office/drawing/2014/main" id="{EF3B220F-990E-7A66-65F2-43D2A570A232}"/>
              </a:ext>
            </a:extLst>
          </p:cNvPr>
          <p:cNvGraphicFramePr>
            <a:graphicFrameLocks noGrp="1"/>
          </p:cNvGraphicFramePr>
          <p:nvPr>
            <p:ph sz="quarter" idx="10"/>
            <p:extLst>
              <p:ext uri="{D42A27DB-BD31-4B8C-83A1-F6EECF244321}">
                <p14:modId xmlns:p14="http://schemas.microsoft.com/office/powerpoint/2010/main" val="997290783"/>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38664613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Black Template">
  <a:themeElements>
    <a:clrScheme name="TS_20_Blue on Black">
      <a:dk1>
        <a:srgbClr val="000000"/>
      </a:dk1>
      <a:lt1>
        <a:srgbClr val="FFFFFF"/>
      </a:lt1>
      <a:dk2>
        <a:srgbClr val="243A5E"/>
      </a:dk2>
      <a:lt2>
        <a:srgbClr val="E6E6E6"/>
      </a:lt2>
      <a:accent1>
        <a:srgbClr val="50E6FF"/>
      </a:accent1>
      <a:accent2>
        <a:srgbClr val="0078D4"/>
      </a:accent2>
      <a:accent3>
        <a:srgbClr val="243A5E"/>
      </a:accent3>
      <a:accent4>
        <a:srgbClr val="30E5D0"/>
      </a:accent4>
      <a:accent5>
        <a:srgbClr val="00857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Microsoft brand template_WHITE_Blue_Accent.potx" id="{D66F7511-47FD-43CB-A804-3BD691A97EAD}" vid="{5E227C23-4ECD-456A-8393-399A513A27C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ec9ab3cf-5ffc-4e23-9951-e59f1d4d2772">
      <Terms xmlns="http://schemas.microsoft.com/office/infopath/2007/PartnerControls"/>
    </lcf76f155ced4ddcb4097134ff3c332f>
    <Credits xmlns="ec9ab3cf-5ffc-4e23-9951-e59f1d4d2772" xsi:nil="true"/>
    <Audience xmlns="ec9ab3cf-5ffc-4e23-9951-e59f1d4d2772" xsi:nil="true"/>
    <TaxCatchAll xmlns="df7f103e-597c-493b-bc31-914106b908e0" xsi:nil="true"/>
    <OverallScore xmlns="ec9ab3cf-5ffc-4e23-9951-e59f1d4d2772"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F9AA89542497BB44B17EFF15C96C765B" ma:contentTypeVersion="22" ma:contentTypeDescription="Create a new document." ma:contentTypeScope="" ma:versionID="c9e3a3a2a1871a01c0bb174ddf2a8ada">
  <xsd:schema xmlns:xsd="http://www.w3.org/2001/XMLSchema" xmlns:xs="http://www.w3.org/2001/XMLSchema" xmlns:p="http://schemas.microsoft.com/office/2006/metadata/properties" xmlns:ns2="ec9ab3cf-5ffc-4e23-9951-e59f1d4d2772" xmlns:ns3="df7f103e-597c-493b-bc31-914106b908e0" targetNamespace="http://schemas.microsoft.com/office/2006/metadata/properties" ma:root="true" ma:fieldsID="9b3649dff5115b20f453b846654cb8f9" ns2:_="" ns3:_="">
    <xsd:import namespace="ec9ab3cf-5ffc-4e23-9951-e59f1d4d2772"/>
    <xsd:import namespace="df7f103e-597c-493b-bc31-914106b908e0"/>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lcf76f155ced4ddcb4097134ff3c332f" minOccurs="0"/>
                <xsd:element ref="ns3:TaxCatchAll" minOccurs="0"/>
                <xsd:element ref="ns2:MediaServiceLocation" minOccurs="0"/>
                <xsd:element ref="ns2:Audience" minOccurs="0"/>
                <xsd:element ref="ns2:Credits" minOccurs="0"/>
                <xsd:element ref="ns2:OverallScore"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c9ab3cf-5ffc-4e23-9951-e59f1d4d277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fc2ae402-469f-44ac-8e1a-80fa5d90e294" ma:termSetId="09814cd3-568e-fe90-9814-8d621ff8fb84" ma:anchorId="fba54fb3-c3e1-fe81-a776-ca4b69148c4d" ma:open="true" ma:isKeyword="false">
      <xsd:complexType>
        <xsd:sequence>
          <xsd:element ref="pc:Terms" minOccurs="0" maxOccurs="1"/>
        </xsd:sequence>
      </xsd:complexType>
    </xsd:element>
    <xsd:element name="MediaServiceLocation" ma:index="23" nillable="true" ma:displayName="Location" ma:internalName="MediaServiceLocation" ma:readOnly="true">
      <xsd:simpleType>
        <xsd:restriction base="dms:Text"/>
      </xsd:simpleType>
    </xsd:element>
    <xsd:element name="Audience" ma:index="24" nillable="true" ma:displayName="Audience" ma:format="Dropdown" ma:internalName="Audience">
      <xsd:complexType>
        <xsd:complexContent>
          <xsd:extension base="dms:MultiChoice">
            <xsd:sequence>
              <xsd:element name="Value" maxOccurs="unbounded" minOccurs="0" nillable="true">
                <xsd:simpleType>
                  <xsd:restriction base="dms:Choice">
                    <xsd:enumeration value="Attendees"/>
                    <xsd:enumeration value="Organizers"/>
                    <xsd:enumeration value="Presenters and Moderators"/>
                    <xsd:enumeration value="Administrators"/>
                  </xsd:restriction>
                </xsd:simpleType>
              </xsd:element>
            </xsd:sequence>
          </xsd:extension>
        </xsd:complexContent>
      </xsd:complexType>
    </xsd:element>
    <xsd:element name="Credits" ma:index="25" nillable="true" ma:displayName="Credits" ma:format="Dropdown" ma:internalName="Credits">
      <xsd:simpleType>
        <xsd:restriction base="dms:Text">
          <xsd:maxLength value="255"/>
        </xsd:restriction>
      </xsd:simpleType>
    </xsd:element>
    <xsd:element name="OverallScore" ma:index="26" nillable="true" ma:displayName="Overall Score" ma:format="Dropdown" ma:internalName="OverallScore" ma:percentage="FALSE">
      <xsd:simpleType>
        <xsd:restriction base="dms:Number"/>
      </xsd:simpleType>
    </xsd:element>
    <xsd:element name="MediaServiceSearchProperties" ma:index="27" nillable="true" ma:displayName="MediaServiceSearchProperties" ma:hidden="true" ma:internalName="MediaServiceSearchProperties" ma:readOnly="true">
      <xsd:simpleType>
        <xsd:restriction base="dms:Note"/>
      </xsd:simpleType>
    </xsd:element>
    <xsd:element name="MediaServiceObjectDetectorVersions" ma:index="28"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f7f103e-597c-493b-bc31-914106b908e0"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74637c3a-ca42-4f7c-af94-c76bdb54c656}" ma:internalName="TaxCatchAll" ma:showField="CatchAllData" ma:web="df7f103e-597c-493b-bc31-914106b908e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DCB3B52-9508-4A63-AFCC-05E7630C15CA}">
  <ds:schemaRefs>
    <ds:schemaRef ds:uri="df7f103e-597c-493b-bc31-914106b908e0"/>
    <ds:schemaRef ds:uri="ec9ab3cf-5ffc-4e23-9951-e59f1d4d2772"/>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08B55F93-F793-45E6-8EF9-B02CA25D11D4}">
  <ds:schemaRefs>
    <ds:schemaRef ds:uri="http://schemas.microsoft.com/sharepoint/v3/contenttype/forms"/>
  </ds:schemaRefs>
</ds:datastoreItem>
</file>

<file path=customXml/itemProps3.xml><?xml version="1.0" encoding="utf-8"?>
<ds:datastoreItem xmlns:ds="http://schemas.openxmlformats.org/officeDocument/2006/customXml" ds:itemID="{C5DC1468-2D5A-4AF4-B6A1-FA3F00E879EA}">
  <ds:schemaRefs>
    <ds:schemaRef ds:uri="df7f103e-597c-493b-bc31-914106b908e0"/>
    <ds:schemaRef ds:uri="ec9ab3cf-5ffc-4e23-9951-e59f1d4d277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f42aa342-8706-4288-bd11-ebb85995028c}" enabled="1" method="Standard" siteId="{72f988bf-86f1-41af-91ab-2d7cd011db47}" contentBits="0" removed="0"/>
</clbl:labelList>
</file>

<file path=docProps/app.xml><?xml version="1.0" encoding="utf-8"?>
<Properties xmlns="http://schemas.openxmlformats.org/officeDocument/2006/extended-properties" xmlns:vt="http://schemas.openxmlformats.org/officeDocument/2006/docPropsVTypes">
  <TotalTime>33</TotalTime>
  <Words>4111</Words>
  <Application>Microsoft Office PowerPoint</Application>
  <PresentationFormat>Widescreen</PresentationFormat>
  <Paragraphs>510</Paragraphs>
  <Slides>54</Slides>
  <Notes>31</Notes>
  <HiddenSlides>1</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54</vt:i4>
      </vt:variant>
    </vt:vector>
  </HeadingPairs>
  <TitlesOfParts>
    <vt:vector size="65" baseType="lpstr">
      <vt:lpstr>Arial</vt:lpstr>
      <vt:lpstr>Calibri</vt:lpstr>
      <vt:lpstr>Consolas</vt:lpstr>
      <vt:lpstr>Segoe UI</vt:lpstr>
      <vt:lpstr>Segoe UI </vt:lpstr>
      <vt:lpstr>Segoe UI Light</vt:lpstr>
      <vt:lpstr>Segoe UI Semibold</vt:lpstr>
      <vt:lpstr>Times New Roman</vt:lpstr>
      <vt:lpstr>Wingdings</vt:lpstr>
      <vt:lpstr>1_Black Template</vt:lpstr>
      <vt:lpstr>think-cell Slide</vt:lpstr>
      <vt:lpstr>Microsoft Commercial Marketplace</vt:lpstr>
      <vt:lpstr>Learning objectives</vt:lpstr>
      <vt:lpstr>What to expect</vt:lpstr>
      <vt:lpstr>PowerPoint Presentation</vt:lpstr>
      <vt:lpstr>PowerPoint Presentation</vt:lpstr>
      <vt:lpstr>Introduction</vt:lpstr>
      <vt:lpstr>Introduction to Marketplace (60 minutes)</vt:lpstr>
      <vt:lpstr>What is the Microsoft Marketplace?</vt:lpstr>
      <vt:lpstr>Who uses Azure Marketplace?</vt:lpstr>
      <vt:lpstr>AppSource vs. Azure Marketplace</vt:lpstr>
      <vt:lpstr>Marketplace online store</vt:lpstr>
      <vt:lpstr>Exercise – Search for Free Apps on Windows OS</vt:lpstr>
      <vt:lpstr>Exercise – Search for Paid Apps on Windows</vt:lpstr>
      <vt:lpstr>Exercise – Search for Free Consulting Services</vt:lpstr>
      <vt:lpstr>Exercise – Search for Paid Consulting Services</vt:lpstr>
      <vt:lpstr>Creating Offers and Purchasing in Marketplace</vt:lpstr>
      <vt:lpstr>How does purchasing work in Azure Marketplace?</vt:lpstr>
      <vt:lpstr>Marketplace Rewards</vt:lpstr>
      <vt:lpstr>Purchasing Options</vt:lpstr>
      <vt:lpstr>Drawing Customers to Your Listing</vt:lpstr>
      <vt:lpstr>Azure Marketplace Purchasing</vt:lpstr>
      <vt:lpstr>Purchase Policy Management</vt:lpstr>
      <vt:lpstr>Cost Management</vt:lpstr>
      <vt:lpstr>Purchase Validation</vt:lpstr>
      <vt:lpstr>Purchasing Azure Application</vt:lpstr>
      <vt:lpstr>Purchase and Deploy an Azure Application</vt:lpstr>
      <vt:lpstr>Purchasing Azure resources</vt:lpstr>
      <vt:lpstr>Purchase and Deploy an Azure Virtual Machine</vt:lpstr>
      <vt:lpstr>Purchasing SaaS applications</vt:lpstr>
      <vt:lpstr>Private Offers</vt:lpstr>
      <vt:lpstr>Walk through of private offers</vt:lpstr>
      <vt:lpstr>Private Offers customer experience</vt:lpstr>
      <vt:lpstr>Purchase and Subscribe to a SaaS offer</vt:lpstr>
      <vt:lpstr>Programmatic Deployment of Marketplace products</vt:lpstr>
      <vt:lpstr>SaaS Subscription Management</vt:lpstr>
      <vt:lpstr>Billing and Invoicing</vt:lpstr>
      <vt:lpstr>Summary</vt:lpstr>
      <vt:lpstr>PowerPoint Presentation</vt:lpstr>
      <vt:lpstr>PowerPoint Presentation</vt:lpstr>
      <vt:lpstr>Introduction</vt:lpstr>
      <vt:lpstr>Procurement and Azure Marketplace</vt:lpstr>
      <vt:lpstr>Account Settings</vt:lpstr>
      <vt:lpstr>Account settings demo</vt:lpstr>
      <vt:lpstr>User Consent to Applications</vt:lpstr>
      <vt:lpstr>PowerPoint Presentation</vt:lpstr>
      <vt:lpstr>Procurement Solutions and Marketplace</vt:lpstr>
      <vt:lpstr>Governance and Procurement management</vt:lpstr>
      <vt:lpstr>Governance and control of solutions</vt:lpstr>
      <vt:lpstr>Azure Private Marketplace</vt:lpstr>
      <vt:lpstr>Procurement Management</vt:lpstr>
      <vt:lpstr>Private Marketplace Workflow</vt:lpstr>
      <vt:lpstr>Private Marketplace demo</vt:lpstr>
      <vt:lpstr>Summary</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here can I learn more?</dc:title>
  <dc:creator>Chris Harrold</dc:creator>
  <cp:lastModifiedBy>Dwayne Natwick</cp:lastModifiedBy>
  <cp:revision>1</cp:revision>
  <dcterms:created xsi:type="dcterms:W3CDTF">2023-04-14T00:23:05Z</dcterms:created>
  <dcterms:modified xsi:type="dcterms:W3CDTF">2023-11-14T16:24: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9AA89542497BB44B17EFF15C96C765B</vt:lpwstr>
  </property>
  <property fmtid="{D5CDD505-2E9C-101B-9397-08002B2CF9AE}" pid="3" name="MediaServiceImageTags">
    <vt:lpwstr/>
  </property>
</Properties>
</file>